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charts/chart1.xml" ContentType="application/vnd.openxmlformats-officedocument.drawingml.chart+xml"/>
  <Override PartName="/ppt/tags/tag29.xml" ContentType="application/vnd.openxmlformats-officedocument.presentationml.tags+xml"/>
  <Override PartName="/ppt/charts/chart2.xml" ContentType="application/vnd.openxmlformats-officedocument.drawingml.chart+xml"/>
  <Override PartName="/ppt/tags/tag30.xml" ContentType="application/vnd.openxmlformats-officedocument.presentationml.tags+xml"/>
  <Override PartName="/ppt/charts/chart3.xml" ContentType="application/vnd.openxmlformats-officedocument.drawingml.chart+xml"/>
  <Override PartName="/ppt/tags/tag31.xml" ContentType="application/vnd.openxmlformats-officedocument.presentationml.tags+xml"/>
  <Override PartName="/ppt/charts/chart4.xml" ContentType="application/vnd.openxmlformats-officedocument.drawingml.chart+xml"/>
  <Override PartName="/ppt/tags/tag32.xml" ContentType="application/vnd.openxmlformats-officedocument.presentationml.tags+xml"/>
  <Override PartName="/ppt/charts/chart5.xml" ContentType="application/vnd.openxmlformats-officedocument.drawingml.chart+xml"/>
  <Override PartName="/ppt/tags/tag33.xml" ContentType="application/vnd.openxmlformats-officedocument.presentationml.tags+xml"/>
  <Override PartName="/ppt/charts/chart6.xml" ContentType="application/vnd.openxmlformats-officedocument.drawingml.chart+xml"/>
  <Override PartName="/ppt/tags/tag34.xml" ContentType="application/vnd.openxmlformats-officedocument.presentationml.tags+xml"/>
  <Override PartName="/ppt/charts/chart7.xml" ContentType="application/vnd.openxmlformats-officedocument.drawingml.chart+xml"/>
  <Override PartName="/ppt/tags/tag35.xml" ContentType="application/vnd.openxmlformats-officedocument.presentationml.tags+xml"/>
  <Override PartName="/ppt/charts/chart8.xml" ContentType="application/vnd.openxmlformats-officedocument.drawingml.chart+xml"/>
  <Override PartName="/ppt/tags/tag36.xml" ContentType="application/vnd.openxmlformats-officedocument.presentationml.tags+xml"/>
  <Override PartName="/ppt/charts/chart9.xml" ContentType="application/vnd.openxmlformats-officedocument.drawingml.chart+xml"/>
  <Override PartName="/ppt/tags/tag37.xml" ContentType="application/vnd.openxmlformats-officedocument.presentationml.tags+xml"/>
  <Override PartName="/ppt/charts/chart10.xml" ContentType="application/vnd.openxmlformats-officedocument.drawingml.chart+xml"/>
  <Override PartName="/ppt/tags/tag38.xml" ContentType="application/vnd.openxmlformats-officedocument.presentationml.tags+xml"/>
  <Override PartName="/ppt/charts/chart11.xml" ContentType="application/vnd.openxmlformats-officedocument.drawingml.chart+xml"/>
  <Override PartName="/ppt/tags/tag39.xml" ContentType="application/vnd.openxmlformats-officedocument.presentationml.tags+xml"/>
  <Override PartName="/ppt/charts/chart12.xml" ContentType="application/vnd.openxmlformats-officedocument.drawingml.chart+xml"/>
  <Override PartName="/ppt/tags/tag40.xml" ContentType="application/vnd.openxmlformats-officedocument.presentationml.tags+xml"/>
  <Override PartName="/ppt/charts/chart13.xml" ContentType="application/vnd.openxmlformats-officedocument.drawingml.chart+xml"/>
  <Override PartName="/ppt/tags/tag41.xml" ContentType="application/vnd.openxmlformats-officedocument.presentationml.tags+xml"/>
  <Override PartName="/ppt/charts/chart14.xml" ContentType="application/vnd.openxmlformats-officedocument.drawingml.chart+xml"/>
  <Override PartName="/ppt/tags/tag42.xml" ContentType="application/vnd.openxmlformats-officedocument.presentationml.tags+xml"/>
  <Override PartName="/ppt/charts/chart15.xml" ContentType="application/vnd.openxmlformats-officedocument.drawingml.chart+xml"/>
  <Override PartName="/ppt/tags/tag43.xml" ContentType="application/vnd.openxmlformats-officedocument.presentationml.tags+xml"/>
  <Override PartName="/ppt/charts/chart16.xml" ContentType="application/vnd.openxmlformats-officedocument.drawingml.chart+xml"/>
  <Override PartName="/ppt/tags/tag44.xml" ContentType="application/vnd.openxmlformats-officedocument.presentationml.tags+xml"/>
  <Override PartName="/ppt/charts/chart17.xml" ContentType="application/vnd.openxmlformats-officedocument.drawingml.chart+xml"/>
  <Override PartName="/ppt/tags/tag45.xml" ContentType="application/vnd.openxmlformats-officedocument.presentationml.tags+xml"/>
  <Override PartName="/ppt/charts/chart18.xml" ContentType="application/vnd.openxmlformats-officedocument.drawingml.chart+xml"/>
  <Override PartName="/ppt/tags/tag46.xml" ContentType="application/vnd.openxmlformats-officedocument.presentationml.tags+xml"/>
  <Override PartName="/ppt/charts/chart19.xml" ContentType="application/vnd.openxmlformats-officedocument.drawingml.chart+xml"/>
  <Override PartName="/ppt/tags/tag47.xml" ContentType="application/vnd.openxmlformats-officedocument.presentationml.tags+xml"/>
  <Override PartName="/ppt/charts/chart20.xml" ContentType="application/vnd.openxmlformats-officedocument.drawingml.chart+xml"/>
  <Override PartName="/ppt/tags/tag48.xml" ContentType="application/vnd.openxmlformats-officedocument.presentationml.tags+xml"/>
  <Override PartName="/ppt/charts/chart21.xml" ContentType="application/vnd.openxmlformats-officedocument.drawingml.chart+xml"/>
  <Override PartName="/ppt/tags/tag49.xml" ContentType="application/vnd.openxmlformats-officedocument.presentationml.tags+xml"/>
  <Override PartName="/ppt/charts/chart22.xml" ContentType="application/vnd.openxmlformats-officedocument.drawingml.chart+xml"/>
  <Override PartName="/ppt/tags/tag50.xml" ContentType="application/vnd.openxmlformats-officedocument.presentationml.tags+xml"/>
  <Override PartName="/ppt/charts/chart23.xml" ContentType="application/vnd.openxmlformats-officedocument.drawingml.chart+xml"/>
  <Override PartName="/ppt/tags/tag51.xml" ContentType="application/vnd.openxmlformats-officedocument.presentationml.tags+xml"/>
  <Override PartName="/ppt/charts/chart24.xml" ContentType="application/vnd.openxmlformats-officedocument.drawingml.chart+xml"/>
  <Override PartName="/ppt/tags/tag52.xml" ContentType="application/vnd.openxmlformats-officedocument.presentationml.tags+xml"/>
  <Override PartName="/ppt/charts/chart25.xml" ContentType="application/vnd.openxmlformats-officedocument.drawingml.chart+xml"/>
  <Override PartName="/ppt/tags/tag53.xml" ContentType="application/vnd.openxmlformats-officedocument.presentationml.tags+xml"/>
  <Override PartName="/ppt/charts/chart26.xml" ContentType="application/vnd.openxmlformats-officedocument.drawingml.chart+xml"/>
  <Override PartName="/ppt/tags/tag54.xml" ContentType="application/vnd.openxmlformats-officedocument.presentationml.tags+xml"/>
  <Override PartName="/ppt/charts/chart27.xml" ContentType="application/vnd.openxmlformats-officedocument.drawingml.chart+xml"/>
  <Override PartName="/ppt/tags/tag55.xml" ContentType="application/vnd.openxmlformats-officedocument.presentationml.tags+xml"/>
  <Override PartName="/ppt/charts/chart28.xml" ContentType="application/vnd.openxmlformats-officedocument.drawingml.chart+xml"/>
  <Override PartName="/ppt/tags/tag56.xml" ContentType="application/vnd.openxmlformats-officedocument.presentationml.tags+xml"/>
  <Override PartName="/ppt/charts/chart29.xml" ContentType="application/vnd.openxmlformats-officedocument.drawingml.chart+xml"/>
  <Override PartName="/ppt/tags/tag57.xml" ContentType="application/vnd.openxmlformats-officedocument.presentationml.tags+xml"/>
  <Override PartName="/ppt/charts/chart30.xml" ContentType="application/vnd.openxmlformats-officedocument.drawingml.chart+xml"/>
  <Override PartName="/ppt/tags/tag58.xml" ContentType="application/vnd.openxmlformats-officedocument.presentationml.tags+xml"/>
  <Override PartName="/ppt/charts/chart31.xml" ContentType="application/vnd.openxmlformats-officedocument.drawingml.chart+xml"/>
  <Override PartName="/ppt/tags/tag59.xml" ContentType="application/vnd.openxmlformats-officedocument.presentationml.tags+xml"/>
  <Override PartName="/ppt/charts/chart32.xml" ContentType="application/vnd.openxmlformats-officedocument.drawingml.chart+xml"/>
  <Override PartName="/ppt/tags/tag60.xml" ContentType="application/vnd.openxmlformats-officedocument.presentationml.tags+xml"/>
  <Override PartName="/ppt/charts/chart33.xml" ContentType="application/vnd.openxmlformats-officedocument.drawingml.chart+xml"/>
  <Override PartName="/ppt/tags/tag61.xml" ContentType="application/vnd.openxmlformats-officedocument.presentationml.tags+xml"/>
  <Override PartName="/ppt/charts/chart34.xml" ContentType="application/vnd.openxmlformats-officedocument.drawingml.chart+xml"/>
  <Override PartName="/ppt/tags/tag62.xml" ContentType="application/vnd.openxmlformats-officedocument.presentationml.tags+xml"/>
  <Override PartName="/ppt/charts/chart35.xml" ContentType="application/vnd.openxmlformats-officedocument.drawingml.chart+xml"/>
  <Override PartName="/ppt/tags/tag63.xml" ContentType="application/vnd.openxmlformats-officedocument.presentationml.tags+xml"/>
  <Override PartName="/ppt/charts/chart36.xml" ContentType="application/vnd.openxmlformats-officedocument.drawingml.chart+xml"/>
  <Override PartName="/ppt/tags/tag64.xml" ContentType="application/vnd.openxmlformats-officedocument.presentationml.tags+xml"/>
  <Override PartName="/ppt/charts/chart37.xml" ContentType="application/vnd.openxmlformats-officedocument.drawingml.chart+xml"/>
  <Override PartName="/ppt/tags/tag65.xml" ContentType="application/vnd.openxmlformats-officedocument.presentationml.tags+xml"/>
  <Override PartName="/ppt/charts/chart38.xml" ContentType="application/vnd.openxmlformats-officedocument.drawingml.chart+xml"/>
  <Override PartName="/ppt/tags/tag66.xml" ContentType="application/vnd.openxmlformats-officedocument.presentationml.tags+xml"/>
  <Override PartName="/ppt/charts/chart39.xml" ContentType="application/vnd.openxmlformats-officedocument.drawingml.chart+xml"/>
  <Override PartName="/ppt/tags/tag67.xml" ContentType="application/vnd.openxmlformats-officedocument.presentationml.tags+xml"/>
  <Override PartName="/ppt/charts/chart40.xml" ContentType="application/vnd.openxmlformats-officedocument.drawingml.chart+xml"/>
  <Override PartName="/ppt/tags/tag68.xml" ContentType="application/vnd.openxmlformats-officedocument.presentationml.tags+xml"/>
  <Override PartName="/ppt/charts/chart41.xml" ContentType="application/vnd.openxmlformats-officedocument.drawingml.chart+xml"/>
  <Override PartName="/ppt/tags/tag69.xml" ContentType="application/vnd.openxmlformats-officedocument.presentationml.tags+xml"/>
  <Override PartName="/ppt/charts/chart42.xml" ContentType="application/vnd.openxmlformats-officedocument.drawingml.chart+xml"/>
  <Override PartName="/ppt/tags/tag70.xml" ContentType="application/vnd.openxmlformats-officedocument.presentationml.tags+xml"/>
  <Override PartName="/ppt/charts/chart43.xml" ContentType="application/vnd.openxmlformats-officedocument.drawingml.chart+xml"/>
  <Override PartName="/ppt/tags/tag71.xml" ContentType="application/vnd.openxmlformats-officedocument.presentationml.tags+xml"/>
  <Override PartName="/ppt/charts/chart44.xml" ContentType="application/vnd.openxmlformats-officedocument.drawingml.chart+xml"/>
  <Override PartName="/ppt/tags/tag72.xml" ContentType="application/vnd.openxmlformats-officedocument.presentationml.tags+xml"/>
  <Override PartName="/ppt/charts/chart45.xml" ContentType="application/vnd.openxmlformats-officedocument.drawingml.chart+xml"/>
  <Override PartName="/ppt/tags/tag73.xml" ContentType="application/vnd.openxmlformats-officedocument.presentationml.tags+xml"/>
  <Override PartName="/ppt/charts/chart46.xml" ContentType="application/vnd.openxmlformats-officedocument.drawingml.chart+xml"/>
  <Override PartName="/ppt/tags/tag74.xml" ContentType="application/vnd.openxmlformats-officedocument.presentationml.tags+xml"/>
  <Override PartName="/ppt/charts/chart47.xml" ContentType="application/vnd.openxmlformats-officedocument.drawingml.chart+xml"/>
  <Override PartName="/ppt/tags/tag75.xml" ContentType="application/vnd.openxmlformats-officedocument.presentationml.tags+xml"/>
  <Override PartName="/ppt/charts/chart48.xml" ContentType="application/vnd.openxmlformats-officedocument.drawingml.chart+xml"/>
  <Override PartName="/ppt/tags/tag76.xml" ContentType="application/vnd.openxmlformats-officedocument.presentationml.tags+xml"/>
  <Override PartName="/ppt/charts/chart49.xml" ContentType="application/vnd.openxmlformats-officedocument.drawingml.chart+xml"/>
  <Override PartName="/ppt/tags/tag77.xml" ContentType="application/vnd.openxmlformats-officedocument.presentationml.tags+xml"/>
  <Override PartName="/ppt/charts/chart50.xml" ContentType="application/vnd.openxmlformats-officedocument.drawingml.chart+xml"/>
  <Override PartName="/ppt/tags/tag78.xml" ContentType="application/vnd.openxmlformats-officedocument.presentationml.tags+xml"/>
  <Override PartName="/ppt/charts/chart51.xml" ContentType="application/vnd.openxmlformats-officedocument.drawingml.chart+xml"/>
  <Override PartName="/ppt/tags/tag79.xml" ContentType="application/vnd.openxmlformats-officedocument.presentationml.tags+xml"/>
  <Override PartName="/ppt/charts/chart52.xml" ContentType="application/vnd.openxmlformats-officedocument.drawingml.chart+xml"/>
  <Override PartName="/ppt/tags/tag80.xml" ContentType="application/vnd.openxmlformats-officedocument.presentationml.tags+xml"/>
  <Override PartName="/ppt/charts/chart53.xml" ContentType="application/vnd.openxmlformats-officedocument.drawingml.chart+xml"/>
  <Override PartName="/ppt/tags/tag81.xml" ContentType="application/vnd.openxmlformats-officedocument.presentationml.tags+xml"/>
  <Override PartName="/ppt/charts/chart54.xml" ContentType="application/vnd.openxmlformats-officedocument.drawingml.chart+xml"/>
  <Override PartName="/ppt/tags/tag82.xml" ContentType="application/vnd.openxmlformats-officedocument.presentationml.tags+xml"/>
  <Override PartName="/ppt/charts/chart55.xml" ContentType="application/vnd.openxmlformats-officedocument.drawingml.chart+xml"/>
  <Override PartName="/ppt/tags/tag83.xml" ContentType="application/vnd.openxmlformats-officedocument.presentationml.tags+xml"/>
  <Override PartName="/ppt/charts/chart56.xml" ContentType="application/vnd.openxmlformats-officedocument.drawingml.chart+xml"/>
  <Override PartName="/ppt/tags/tag84.xml" ContentType="application/vnd.openxmlformats-officedocument.presentationml.tags+xml"/>
  <Override PartName="/ppt/charts/chart57.xml" ContentType="application/vnd.openxmlformats-officedocument.drawingml.chart+xml"/>
  <Override PartName="/ppt/tags/tag85.xml" ContentType="application/vnd.openxmlformats-officedocument.presentationml.tags+xml"/>
  <Override PartName="/ppt/charts/chart58.xml" ContentType="application/vnd.openxmlformats-officedocument.drawingml.chart+xml"/>
  <Override PartName="/ppt/tags/tag86.xml" ContentType="application/vnd.openxmlformats-officedocument.presentationml.tags+xml"/>
  <Override PartName="/ppt/charts/chart59.xml" ContentType="application/vnd.openxmlformats-officedocument.drawingml.chart+xml"/>
  <Override PartName="/ppt/tags/tag87.xml" ContentType="application/vnd.openxmlformats-officedocument.presentationml.tags+xml"/>
  <Override PartName="/ppt/charts/chart60.xml" ContentType="application/vnd.openxmlformats-officedocument.drawingml.chart+xml"/>
  <Override PartName="/ppt/tags/tag88.xml" ContentType="application/vnd.openxmlformats-officedocument.presentationml.tags+xml"/>
  <Override PartName="/ppt/charts/chart61.xml" ContentType="application/vnd.openxmlformats-officedocument.drawingml.chart+xml"/>
  <Override PartName="/ppt/tags/tag89.xml" ContentType="application/vnd.openxmlformats-officedocument.presentationml.tags+xml"/>
  <Override PartName="/ppt/charts/chart62.xml" ContentType="application/vnd.openxmlformats-officedocument.drawingml.chart+xml"/>
  <Override PartName="/ppt/tags/tag90.xml" ContentType="application/vnd.openxmlformats-officedocument.presentationml.tags+xml"/>
  <Override PartName="/ppt/charts/chart63.xml" ContentType="application/vnd.openxmlformats-officedocument.drawingml.chart+xml"/>
  <Override PartName="/ppt/tags/tag91.xml" ContentType="application/vnd.openxmlformats-officedocument.presentationml.tags+xml"/>
  <Override PartName="/ppt/charts/chart64.xml" ContentType="application/vnd.openxmlformats-officedocument.drawingml.chart+xml"/>
  <Override PartName="/ppt/tags/tag92.xml" ContentType="application/vnd.openxmlformats-officedocument.presentationml.tags+xml"/>
  <Override PartName="/ppt/charts/chart65.xml" ContentType="application/vnd.openxmlformats-officedocument.drawingml.chart+xml"/>
  <Override PartName="/ppt/tags/tag93.xml" ContentType="application/vnd.openxmlformats-officedocument.presentationml.tags+xml"/>
  <Override PartName="/ppt/charts/chart66.xml" ContentType="application/vnd.openxmlformats-officedocument.drawingml.chart+xml"/>
  <Override PartName="/ppt/tags/tag94.xml" ContentType="application/vnd.openxmlformats-officedocument.presentationml.tags+xml"/>
  <Override PartName="/ppt/charts/chart67.xml" ContentType="application/vnd.openxmlformats-officedocument.drawingml.chart+xml"/>
  <Override PartName="/ppt/tags/tag95.xml" ContentType="application/vnd.openxmlformats-officedocument.presentationml.tags+xml"/>
  <Override PartName="/ppt/charts/chart68.xml" ContentType="application/vnd.openxmlformats-officedocument.drawingml.chart+xml"/>
  <Override PartName="/ppt/tags/tag96.xml" ContentType="application/vnd.openxmlformats-officedocument.presentationml.tags+xml"/>
  <Override PartName="/ppt/charts/chart69.xml" ContentType="application/vnd.openxmlformats-officedocument.drawingml.chart+xml"/>
  <Override PartName="/ppt/tags/tag97.xml" ContentType="application/vnd.openxmlformats-officedocument.presentationml.tags+xml"/>
  <Override PartName="/ppt/charts/chart70.xml" ContentType="application/vnd.openxmlformats-officedocument.drawingml.chart+xml"/>
  <Override PartName="/ppt/tags/tag98.xml" ContentType="application/vnd.openxmlformats-officedocument.presentationml.tags+xml"/>
  <Override PartName="/ppt/charts/chart71.xml" ContentType="application/vnd.openxmlformats-officedocument.drawingml.chart+xml"/>
  <Override PartName="/ppt/tags/tag99.xml" ContentType="application/vnd.openxmlformats-officedocument.presentationml.tags+xml"/>
  <Override PartName="/ppt/charts/chart72.xml" ContentType="application/vnd.openxmlformats-officedocument.drawingml.chart+xml"/>
  <Override PartName="/ppt/tags/tag100.xml" ContentType="application/vnd.openxmlformats-officedocument.presentationml.tags+xml"/>
  <Override PartName="/ppt/charts/chart73.xml" ContentType="application/vnd.openxmlformats-officedocument.drawingml.chart+xml"/>
  <Override PartName="/ppt/tags/tag101.xml" ContentType="application/vnd.openxmlformats-officedocument.presentationml.tags+xml"/>
  <Override PartName="/ppt/charts/chart74.xml" ContentType="application/vnd.openxmlformats-officedocument.drawingml.chart+xml"/>
  <Override PartName="/ppt/tags/tag102.xml" ContentType="application/vnd.openxmlformats-officedocument.presentationml.tags+xml"/>
  <Override PartName="/ppt/charts/chart75.xml" ContentType="application/vnd.openxmlformats-officedocument.drawingml.chart+xml"/>
  <Override PartName="/ppt/tags/tag103.xml" ContentType="application/vnd.openxmlformats-officedocument.presentationml.tags+xml"/>
  <Override PartName="/ppt/charts/chart76.xml" ContentType="application/vnd.openxmlformats-officedocument.drawingml.chart+xml"/>
  <Override PartName="/ppt/tags/tag104.xml" ContentType="application/vnd.openxmlformats-officedocument.presentationml.tags+xml"/>
  <Override PartName="/ppt/charts/chart77.xml" ContentType="application/vnd.openxmlformats-officedocument.drawingml.chart+xml"/>
  <Override PartName="/ppt/tags/tag105.xml" ContentType="application/vnd.openxmlformats-officedocument.presentationml.tags+xml"/>
  <Override PartName="/ppt/charts/chart78.xml" ContentType="application/vnd.openxmlformats-officedocument.drawingml.chart+xml"/>
  <Override PartName="/ppt/tags/tag106.xml" ContentType="application/vnd.openxmlformats-officedocument.presentationml.tags+xml"/>
  <Override PartName="/ppt/charts/chart79.xml" ContentType="application/vnd.openxmlformats-officedocument.drawingml.chart+xml"/>
  <Override PartName="/ppt/tags/tag107.xml" ContentType="application/vnd.openxmlformats-officedocument.presentationml.tags+xml"/>
  <Override PartName="/ppt/charts/chart80.xml" ContentType="application/vnd.openxmlformats-officedocument.drawingml.chart+xml"/>
  <Override PartName="/ppt/tags/tag108.xml" ContentType="application/vnd.openxmlformats-officedocument.presentationml.tags+xml"/>
  <Override PartName="/ppt/charts/chart81.xml" ContentType="application/vnd.openxmlformats-officedocument.drawingml.chart+xml"/>
  <Override PartName="/ppt/tags/tag109.xml" ContentType="application/vnd.openxmlformats-officedocument.presentationml.tags+xml"/>
  <Override PartName="/ppt/charts/chart82.xml" ContentType="application/vnd.openxmlformats-officedocument.drawingml.chart+xml"/>
  <Override PartName="/ppt/tags/tag110.xml" ContentType="application/vnd.openxmlformats-officedocument.presentationml.tags+xml"/>
  <Override PartName="/ppt/charts/chart83.xml" ContentType="application/vnd.openxmlformats-officedocument.drawingml.chart+xml"/>
  <Override PartName="/ppt/tags/tag111.xml" ContentType="application/vnd.openxmlformats-officedocument.presentationml.tags+xml"/>
  <Override PartName="/ppt/charts/chart84.xml" ContentType="application/vnd.openxmlformats-officedocument.drawingml.chart+xml"/>
  <Override PartName="/ppt/tags/tag112.xml" ContentType="application/vnd.openxmlformats-officedocument.presentationml.tags+xml"/>
  <Override PartName="/ppt/charts/chart85.xml" ContentType="application/vnd.openxmlformats-officedocument.drawingml.chart+xml"/>
  <Override PartName="/ppt/tags/tag113.xml" ContentType="application/vnd.openxmlformats-officedocument.presentationml.tags+xml"/>
  <Override PartName="/ppt/charts/chart86.xml" ContentType="application/vnd.openxmlformats-officedocument.drawingml.chart+xml"/>
  <Override PartName="/ppt/tags/tag114.xml" ContentType="application/vnd.openxmlformats-officedocument.presentationml.tags+xml"/>
  <Override PartName="/ppt/charts/chart87.xml" ContentType="application/vnd.openxmlformats-officedocument.drawingml.chart+xml"/>
  <Override PartName="/ppt/tags/tag115.xml" ContentType="application/vnd.openxmlformats-officedocument.presentationml.tags+xml"/>
  <Override PartName="/ppt/charts/chart88.xml" ContentType="application/vnd.openxmlformats-officedocument.drawingml.chart+xml"/>
  <Override PartName="/ppt/tags/tag116.xml" ContentType="application/vnd.openxmlformats-officedocument.presentationml.tags+xml"/>
  <Override PartName="/ppt/charts/chart89.xml" ContentType="application/vnd.openxmlformats-officedocument.drawingml.chart+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94"/>
  </p:notesMasterIdLst>
  <p:sldIdLst>
    <p:sldId id="2147475171" r:id="rId5"/>
    <p:sldId id="2147475172" r:id="rId6"/>
    <p:sldId id="2147475173" r:id="rId7"/>
    <p:sldId id="2147475174" r:id="rId8"/>
    <p:sldId id="2147475175" r:id="rId9"/>
    <p:sldId id="2147475176" r:id="rId10"/>
    <p:sldId id="2147475177" r:id="rId11"/>
    <p:sldId id="2147475178" r:id="rId12"/>
    <p:sldId id="2147475179" r:id="rId13"/>
    <p:sldId id="2147475180" r:id="rId14"/>
    <p:sldId id="2147475181" r:id="rId15"/>
    <p:sldId id="2147475182" r:id="rId16"/>
    <p:sldId id="2147475183" r:id="rId17"/>
    <p:sldId id="2147475184" r:id="rId18"/>
    <p:sldId id="2147475185" r:id="rId19"/>
    <p:sldId id="2147475186" r:id="rId20"/>
    <p:sldId id="2147475187" r:id="rId21"/>
    <p:sldId id="2147475188" r:id="rId22"/>
    <p:sldId id="2147475189" r:id="rId23"/>
    <p:sldId id="2147475190" r:id="rId24"/>
    <p:sldId id="2147475191" r:id="rId25"/>
    <p:sldId id="2147475192" r:id="rId26"/>
    <p:sldId id="2147475193" r:id="rId27"/>
    <p:sldId id="2147475194" r:id="rId28"/>
    <p:sldId id="2147475195" r:id="rId29"/>
    <p:sldId id="2147475196" r:id="rId30"/>
    <p:sldId id="2147475197" r:id="rId31"/>
    <p:sldId id="2147475198" r:id="rId32"/>
    <p:sldId id="2147475199" r:id="rId33"/>
    <p:sldId id="2147475200" r:id="rId34"/>
    <p:sldId id="2147475201" r:id="rId35"/>
    <p:sldId id="2147475202" r:id="rId36"/>
    <p:sldId id="2147475203" r:id="rId37"/>
    <p:sldId id="2147475204" r:id="rId38"/>
    <p:sldId id="2147475205" r:id="rId39"/>
    <p:sldId id="2147475206" r:id="rId40"/>
    <p:sldId id="2147475207" r:id="rId41"/>
    <p:sldId id="2147475208" r:id="rId42"/>
    <p:sldId id="2147475209" r:id="rId43"/>
    <p:sldId id="2147475210" r:id="rId44"/>
    <p:sldId id="2147475211" r:id="rId45"/>
    <p:sldId id="2147475212" r:id="rId46"/>
    <p:sldId id="2147475213" r:id="rId47"/>
    <p:sldId id="2147475214" r:id="rId48"/>
    <p:sldId id="2147475215" r:id="rId49"/>
    <p:sldId id="2147475216" r:id="rId50"/>
    <p:sldId id="2147475217" r:id="rId51"/>
    <p:sldId id="2147475218" r:id="rId52"/>
    <p:sldId id="2147475219" r:id="rId53"/>
    <p:sldId id="2147475220" r:id="rId54"/>
    <p:sldId id="2147475221" r:id="rId55"/>
    <p:sldId id="2147475222" r:id="rId56"/>
    <p:sldId id="2147475223" r:id="rId57"/>
    <p:sldId id="2147475224" r:id="rId58"/>
    <p:sldId id="2147475225" r:id="rId59"/>
    <p:sldId id="2147475226" r:id="rId60"/>
    <p:sldId id="2147475227" r:id="rId61"/>
    <p:sldId id="2147475228" r:id="rId62"/>
    <p:sldId id="2147475229" r:id="rId63"/>
    <p:sldId id="2147475230" r:id="rId64"/>
    <p:sldId id="2147475231" r:id="rId65"/>
    <p:sldId id="2147475232" r:id="rId66"/>
    <p:sldId id="2147475233" r:id="rId67"/>
    <p:sldId id="2147475234" r:id="rId68"/>
    <p:sldId id="2147475235" r:id="rId69"/>
    <p:sldId id="2147475236" r:id="rId70"/>
    <p:sldId id="2147475237" r:id="rId71"/>
    <p:sldId id="2147475238" r:id="rId72"/>
    <p:sldId id="2147475239" r:id="rId73"/>
    <p:sldId id="2147475240" r:id="rId74"/>
    <p:sldId id="2147475241" r:id="rId75"/>
    <p:sldId id="2147475242" r:id="rId76"/>
    <p:sldId id="2147475243" r:id="rId77"/>
    <p:sldId id="2147475244" r:id="rId78"/>
    <p:sldId id="2147475245" r:id="rId79"/>
    <p:sldId id="2147475246" r:id="rId80"/>
    <p:sldId id="2147475247" r:id="rId81"/>
    <p:sldId id="2147475248" r:id="rId82"/>
    <p:sldId id="2147475249" r:id="rId83"/>
    <p:sldId id="2147475250" r:id="rId84"/>
    <p:sldId id="2147475251" r:id="rId85"/>
    <p:sldId id="2147475252" r:id="rId86"/>
    <p:sldId id="2147475253" r:id="rId87"/>
    <p:sldId id="2147475254" r:id="rId88"/>
    <p:sldId id="2147475255" r:id="rId89"/>
    <p:sldId id="2147475256" r:id="rId90"/>
    <p:sldId id="2147475257" r:id="rId91"/>
    <p:sldId id="2147475258" r:id="rId92"/>
    <p:sldId id="2147475259" r:id="rId93"/>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Inter-size Discount" id="{0AF19C9F-BB34-41DD-92FB-225F1B9856CB}">
          <p14:sldIdLst>
            <p14:sldId id="2147475171"/>
            <p14:sldId id="2147475172"/>
            <p14:sldId id="2147475173"/>
            <p14:sldId id="2147475174"/>
            <p14:sldId id="2147475175"/>
            <p14:sldId id="2147475176"/>
            <p14:sldId id="2147475177"/>
            <p14:sldId id="2147475178"/>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 id="2147475199"/>
            <p14:sldId id="2147475200"/>
            <p14:sldId id="2147475201"/>
            <p14:sldId id="2147475202"/>
            <p14:sldId id="2147475203"/>
            <p14:sldId id="2147475204"/>
            <p14:sldId id="2147475205"/>
            <p14:sldId id="2147475206"/>
            <p14:sldId id="2147475207"/>
            <p14:sldId id="2147475208"/>
            <p14:sldId id="2147475209"/>
            <p14:sldId id="2147475210"/>
            <p14:sldId id="2147475211"/>
            <p14:sldId id="2147475212"/>
            <p14:sldId id="2147475213"/>
            <p14:sldId id="2147475214"/>
            <p14:sldId id="2147475215"/>
            <p14:sldId id="2147475216"/>
            <p14:sldId id="2147475217"/>
            <p14:sldId id="2147475218"/>
            <p14:sldId id="2147475219"/>
            <p14:sldId id="2147475220"/>
            <p14:sldId id="2147475221"/>
            <p14:sldId id="2147475222"/>
            <p14:sldId id="2147475223"/>
            <p14:sldId id="2147475224"/>
            <p14:sldId id="2147475225"/>
            <p14:sldId id="2147475226"/>
            <p14:sldId id="2147475227"/>
            <p14:sldId id="2147475228"/>
            <p14:sldId id="2147475229"/>
            <p14:sldId id="2147475230"/>
            <p14:sldId id="2147475231"/>
            <p14:sldId id="2147475232"/>
            <p14:sldId id="2147475233"/>
            <p14:sldId id="2147475234"/>
            <p14:sldId id="2147475235"/>
            <p14:sldId id="2147475236"/>
            <p14:sldId id="2147475237"/>
            <p14:sldId id="2147475238"/>
            <p14:sldId id="2147475239"/>
            <p14:sldId id="2147475240"/>
            <p14:sldId id="2147475241"/>
            <p14:sldId id="2147475242"/>
            <p14:sldId id="2147475243"/>
            <p14:sldId id="2147475244"/>
            <p14:sldId id="2147475245"/>
            <p14:sldId id="2147475246"/>
            <p14:sldId id="2147475247"/>
            <p14:sldId id="2147475248"/>
            <p14:sldId id="2147475249"/>
            <p14:sldId id="2147475250"/>
            <p14:sldId id="2147475251"/>
            <p14:sldId id="2147475252"/>
            <p14:sldId id="2147475253"/>
            <p14:sldId id="2147475254"/>
            <p14:sldId id="2147475255"/>
            <p14:sldId id="2147475256"/>
            <p14:sldId id="2147475257"/>
            <p14:sldId id="2147475258"/>
            <p14:sldId id="2147475259"/>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CBBB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7607" autoAdjust="0"/>
    <p:restoredTop sz="94660"/>
  </p:normalViewPr>
  <p:slideViewPr>
    <p:cSldViewPr snapToGrid="0">
      <p:cViewPr varScale="1">
        <p:scale>
          <a:sx n="78" d="100"/>
          <a:sy n="78" d="100"/>
        </p:scale>
        <p:origin x="82" y="418"/>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presProps" Target="presProps.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80" Type="http://schemas.openxmlformats.org/officeDocument/2006/relationships/slide" Target="slides/slide76.xml"/><Relationship Id="rId85" Type="http://schemas.openxmlformats.org/officeDocument/2006/relationships/slide" Target="slides/slide8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slide" Target="slides/slide84.xml"/><Relationship Id="rId91" Type="http://schemas.openxmlformats.org/officeDocument/2006/relationships/slide" Target="slides/slide87.xml"/><Relationship Id="rId96"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notesMaster" Target="notesMasters/notesMaster1.xml"/><Relationship Id="rId99"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theme" Target="theme/theme1.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microsoft.com/office/2018/10/relationships/authors" Target="author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B$2:$B$23</c:f>
              <c:numCache>
                <c:formatCode>General</c:formatCode>
                <c:ptCount val="22"/>
                <c:pt idx="0">
                  <c:v>13</c:v>
                </c:pt>
                <c:pt idx="1">
                  <c:v>1</c:v>
                </c:pt>
                <c:pt idx="2">
                  <c:v>5</c:v>
                </c:pt>
                <c:pt idx="3">
                  <c:v>14</c:v>
                </c:pt>
                <c:pt idx="4">
                  <c:v>123</c:v>
                </c:pt>
                <c:pt idx="5">
                  <c:v>0</c:v>
                </c:pt>
                <c:pt idx="6">
                  <c:v>0</c:v>
                </c:pt>
                <c:pt idx="7">
                  <c:v>0</c:v>
                </c:pt>
                <c:pt idx="8">
                  <c:v>13</c:v>
                </c:pt>
                <c:pt idx="9">
                  <c:v>0</c:v>
                </c:pt>
                <c:pt idx="10">
                  <c:v>0</c:v>
                </c:pt>
                <c:pt idx="11">
                  <c:v>0</c:v>
                </c:pt>
                <c:pt idx="12">
                  <c:v>0</c:v>
                </c:pt>
                <c:pt idx="13">
                  <c:v>0</c:v>
                </c:pt>
                <c:pt idx="14">
                  <c:v>0</c:v>
                </c:pt>
                <c:pt idx="15">
                  <c:v>1</c:v>
                </c:pt>
                <c:pt idx="16">
                  <c:v>0</c:v>
                </c:pt>
                <c:pt idx="17">
                  <c:v>8</c:v>
                </c:pt>
                <c:pt idx="18">
                  <c:v>0</c:v>
                </c:pt>
                <c:pt idx="19">
                  <c:v>0</c:v>
                </c:pt>
                <c:pt idx="20">
                  <c:v>6</c:v>
                </c:pt>
                <c:pt idx="21">
                  <c:v>0</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C$2:$C$23</c:f>
              <c:numCache>
                <c:formatCode>General</c:formatCode>
                <c:ptCount val="22"/>
                <c:pt idx="0">
                  <c:v>1.1399999999999999</c:v>
                </c:pt>
                <c:pt idx="1">
                  <c:v>2.15</c:v>
                </c:pt>
                <c:pt idx="2">
                  <c:v>4.46</c:v>
                </c:pt>
                <c:pt idx="3">
                  <c:v>4</c:v>
                </c:pt>
                <c:pt idx="4">
                  <c:v>3.95</c:v>
                </c:pt>
                <c:pt idx="5">
                  <c:v>6.9</c:v>
                </c:pt>
                <c:pt idx="6">
                  <c:v>7.58</c:v>
                </c:pt>
                <c:pt idx="7">
                  <c:v>8.27</c:v>
                </c:pt>
                <c:pt idx="8">
                  <c:v>10.92</c:v>
                </c:pt>
                <c:pt idx="9">
                  <c:v>18.79</c:v>
                </c:pt>
                <c:pt idx="10">
                  <c:v>15.11</c:v>
                </c:pt>
                <c:pt idx="11">
                  <c:v>16.61</c:v>
                </c:pt>
                <c:pt idx="12">
                  <c:v>39</c:v>
                </c:pt>
                <c:pt idx="13">
                  <c:v>38.69</c:v>
                </c:pt>
                <c:pt idx="14">
                  <c:v>34.56</c:v>
                </c:pt>
                <c:pt idx="15">
                  <c:v>22.36</c:v>
                </c:pt>
                <c:pt idx="16">
                  <c:v>35.590000000000003</c:v>
                </c:pt>
                <c:pt idx="17">
                  <c:v>22.95</c:v>
                </c:pt>
                <c:pt idx="18">
                  <c:v>45.5</c:v>
                </c:pt>
                <c:pt idx="19">
                  <c:v>101.71</c:v>
                </c:pt>
                <c:pt idx="20">
                  <c:v>96.37</c:v>
                </c:pt>
                <c:pt idx="21">
                  <c:v>144.0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D$2:$D$23</c:f>
              <c:numCache>
                <c:formatCode>General</c:formatCode>
                <c:ptCount val="22"/>
                <c:pt idx="0">
                  <c:v>1.28</c:v>
                </c:pt>
                <c:pt idx="1">
                  <c:v>1.78</c:v>
                </c:pt>
                <c:pt idx="2">
                  <c:v>3.46</c:v>
                </c:pt>
                <c:pt idx="3">
                  <c:v>3.85</c:v>
                </c:pt>
                <c:pt idx="4">
                  <c:v>3.95</c:v>
                </c:pt>
                <c:pt idx="5">
                  <c:v>4.05</c:v>
                </c:pt>
                <c:pt idx="6">
                  <c:v>4.84</c:v>
                </c:pt>
                <c:pt idx="7">
                  <c:v>8.89</c:v>
                </c:pt>
                <c:pt idx="8">
                  <c:v>9.8800000000000008</c:v>
                </c:pt>
                <c:pt idx="9">
                  <c:v>11.85</c:v>
                </c:pt>
                <c:pt idx="10">
                  <c:v>12.24</c:v>
                </c:pt>
                <c:pt idx="11">
                  <c:v>14.22</c:v>
                </c:pt>
                <c:pt idx="12">
                  <c:v>21.23</c:v>
                </c:pt>
                <c:pt idx="13">
                  <c:v>24.29</c:v>
                </c:pt>
                <c:pt idx="14">
                  <c:v>24.59</c:v>
                </c:pt>
                <c:pt idx="15">
                  <c:v>26.37</c:v>
                </c:pt>
                <c:pt idx="16">
                  <c:v>28.54</c:v>
                </c:pt>
                <c:pt idx="17">
                  <c:v>30.12</c:v>
                </c:pt>
                <c:pt idx="18">
                  <c:v>42.66</c:v>
                </c:pt>
                <c:pt idx="19">
                  <c:v>92.43</c:v>
                </c:pt>
                <c:pt idx="20">
                  <c:v>94.8</c:v>
                </c:pt>
                <c:pt idx="21">
                  <c:v>11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rPr lang="en-US"/>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rPr lang="en-US"/>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E$2:$E$23</c:f>
              <c:numCache>
                <c:formatCode>General</c:formatCode>
                <c:ptCount val="22"/>
                <c:pt idx="0">
                  <c:v>1.21</c:v>
                </c:pt>
                <c:pt idx="1">
                  <c:v>1.9649999999999999</c:v>
                </c:pt>
                <c:pt idx="2">
                  <c:v>3.96</c:v>
                </c:pt>
                <c:pt idx="3">
                  <c:v>3.9249999999999998</c:v>
                </c:pt>
                <c:pt idx="4">
                  <c:v>3.95</c:v>
                </c:pt>
                <c:pt idx="5">
                  <c:v>5.4749999999999996</c:v>
                </c:pt>
                <c:pt idx="6">
                  <c:v>6.21</c:v>
                </c:pt>
                <c:pt idx="7">
                  <c:v>8.58</c:v>
                </c:pt>
                <c:pt idx="8">
                  <c:v>10.4</c:v>
                </c:pt>
                <c:pt idx="9">
                  <c:v>15.32</c:v>
                </c:pt>
                <c:pt idx="10">
                  <c:v>13.675000000000001</c:v>
                </c:pt>
                <c:pt idx="11">
                  <c:v>15.414999999999999</c:v>
                </c:pt>
                <c:pt idx="12">
                  <c:v>30.115000000000002</c:v>
                </c:pt>
                <c:pt idx="13">
                  <c:v>31.49</c:v>
                </c:pt>
                <c:pt idx="14">
                  <c:v>29.575000000000003</c:v>
                </c:pt>
                <c:pt idx="15">
                  <c:v>24.365000000000002</c:v>
                </c:pt>
                <c:pt idx="16">
                  <c:v>32.064999999999998</c:v>
                </c:pt>
                <c:pt idx="17">
                  <c:v>26.535</c:v>
                </c:pt>
                <c:pt idx="18">
                  <c:v>44.08</c:v>
                </c:pt>
                <c:pt idx="19">
                  <c:v>97.07</c:v>
                </c:pt>
                <c:pt idx="20">
                  <c:v>95.585000000000008</c:v>
                </c:pt>
                <c:pt idx="21">
                  <c:v>131.2699999999999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scaling>
        <c:delete val="0"/>
        <c:axPos val="r"/>
        <c:numFmt formatCode="General"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B$2:$B$23</c:f>
              <c:numCache>
                <c:formatCode>General</c:formatCode>
                <c:ptCount val="22"/>
                <c:pt idx="0">
                  <c:v>13</c:v>
                </c:pt>
                <c:pt idx="1">
                  <c:v>1</c:v>
                </c:pt>
                <c:pt idx="2">
                  <c:v>5</c:v>
                </c:pt>
                <c:pt idx="3">
                  <c:v>14</c:v>
                </c:pt>
                <c:pt idx="4">
                  <c:v>123</c:v>
                </c:pt>
                <c:pt idx="5">
                  <c:v>0</c:v>
                </c:pt>
                <c:pt idx="6">
                  <c:v>0</c:v>
                </c:pt>
                <c:pt idx="7">
                  <c:v>0</c:v>
                </c:pt>
                <c:pt idx="8">
                  <c:v>13</c:v>
                </c:pt>
                <c:pt idx="9">
                  <c:v>0</c:v>
                </c:pt>
                <c:pt idx="10">
                  <c:v>0</c:v>
                </c:pt>
                <c:pt idx="11">
                  <c:v>0</c:v>
                </c:pt>
                <c:pt idx="12">
                  <c:v>0</c:v>
                </c:pt>
                <c:pt idx="13">
                  <c:v>0</c:v>
                </c:pt>
                <c:pt idx="14">
                  <c:v>0</c:v>
                </c:pt>
                <c:pt idx="15">
                  <c:v>1</c:v>
                </c:pt>
                <c:pt idx="16">
                  <c:v>0</c:v>
                </c:pt>
                <c:pt idx="17">
                  <c:v>8</c:v>
                </c:pt>
                <c:pt idx="18">
                  <c:v>0</c:v>
                </c:pt>
                <c:pt idx="19">
                  <c:v>0</c:v>
                </c:pt>
                <c:pt idx="20">
                  <c:v>6</c:v>
                </c:pt>
                <c:pt idx="21">
                  <c:v>0</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C$2:$C$23</c:f>
              <c:numCache>
                <c:formatCode>General</c:formatCode>
                <c:ptCount val="22"/>
                <c:pt idx="0">
                  <c:v>1.1399999999999999</c:v>
                </c:pt>
                <c:pt idx="1">
                  <c:v>2.15</c:v>
                </c:pt>
                <c:pt idx="2">
                  <c:v>4.46</c:v>
                </c:pt>
                <c:pt idx="3">
                  <c:v>4</c:v>
                </c:pt>
                <c:pt idx="4">
                  <c:v>3.95</c:v>
                </c:pt>
                <c:pt idx="5">
                  <c:v>6.9</c:v>
                </c:pt>
                <c:pt idx="6">
                  <c:v>7.58</c:v>
                </c:pt>
                <c:pt idx="7">
                  <c:v>8.27</c:v>
                </c:pt>
                <c:pt idx="8">
                  <c:v>10.92</c:v>
                </c:pt>
                <c:pt idx="9">
                  <c:v>18.79</c:v>
                </c:pt>
                <c:pt idx="10">
                  <c:v>15.11</c:v>
                </c:pt>
                <c:pt idx="11">
                  <c:v>16.61</c:v>
                </c:pt>
                <c:pt idx="12">
                  <c:v>39</c:v>
                </c:pt>
                <c:pt idx="13">
                  <c:v>38.69</c:v>
                </c:pt>
                <c:pt idx="14">
                  <c:v>34.56</c:v>
                </c:pt>
                <c:pt idx="15">
                  <c:v>22.36</c:v>
                </c:pt>
                <c:pt idx="16">
                  <c:v>35.590000000000003</c:v>
                </c:pt>
                <c:pt idx="17">
                  <c:v>22.95</c:v>
                </c:pt>
                <c:pt idx="18">
                  <c:v>45.5</c:v>
                </c:pt>
                <c:pt idx="19">
                  <c:v>101.71</c:v>
                </c:pt>
                <c:pt idx="20">
                  <c:v>96.37</c:v>
                </c:pt>
                <c:pt idx="21">
                  <c:v>144.0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D$2:$D$23</c:f>
              <c:numCache>
                <c:formatCode>General</c:formatCode>
                <c:ptCount val="22"/>
                <c:pt idx="0">
                  <c:v>1.28</c:v>
                </c:pt>
                <c:pt idx="1">
                  <c:v>1.78</c:v>
                </c:pt>
                <c:pt idx="2">
                  <c:v>3.46</c:v>
                </c:pt>
                <c:pt idx="3">
                  <c:v>3.85</c:v>
                </c:pt>
                <c:pt idx="4">
                  <c:v>3.95</c:v>
                </c:pt>
                <c:pt idx="5">
                  <c:v>4.05</c:v>
                </c:pt>
                <c:pt idx="6">
                  <c:v>4.84</c:v>
                </c:pt>
                <c:pt idx="7">
                  <c:v>8.89</c:v>
                </c:pt>
                <c:pt idx="8">
                  <c:v>9.8800000000000008</c:v>
                </c:pt>
                <c:pt idx="9">
                  <c:v>11.85</c:v>
                </c:pt>
                <c:pt idx="10">
                  <c:v>12.24</c:v>
                </c:pt>
                <c:pt idx="11">
                  <c:v>14.22</c:v>
                </c:pt>
                <c:pt idx="12">
                  <c:v>21.23</c:v>
                </c:pt>
                <c:pt idx="13">
                  <c:v>24.29</c:v>
                </c:pt>
                <c:pt idx="14">
                  <c:v>24.59</c:v>
                </c:pt>
                <c:pt idx="15">
                  <c:v>26.37</c:v>
                </c:pt>
                <c:pt idx="16">
                  <c:v>28.54</c:v>
                </c:pt>
                <c:pt idx="17">
                  <c:v>30.12</c:v>
                </c:pt>
                <c:pt idx="18">
                  <c:v>42.66</c:v>
                </c:pt>
                <c:pt idx="19">
                  <c:v>92.43</c:v>
                </c:pt>
                <c:pt idx="20">
                  <c:v>94.8</c:v>
                </c:pt>
                <c:pt idx="21">
                  <c:v>11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rPr lang="en-US"/>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rPr lang="en-US"/>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E$2:$E$23</c:f>
              <c:numCache>
                <c:formatCode>General</c:formatCode>
                <c:ptCount val="22"/>
                <c:pt idx="0">
                  <c:v>1.21</c:v>
                </c:pt>
                <c:pt idx="1">
                  <c:v>1.9649999999999999</c:v>
                </c:pt>
                <c:pt idx="2">
                  <c:v>3.96</c:v>
                </c:pt>
                <c:pt idx="3">
                  <c:v>3.9249999999999998</c:v>
                </c:pt>
                <c:pt idx="4">
                  <c:v>3.95</c:v>
                </c:pt>
                <c:pt idx="5">
                  <c:v>5.4749999999999996</c:v>
                </c:pt>
                <c:pt idx="6">
                  <c:v>6.21</c:v>
                </c:pt>
                <c:pt idx="7">
                  <c:v>8.58</c:v>
                </c:pt>
                <c:pt idx="8">
                  <c:v>10.4</c:v>
                </c:pt>
                <c:pt idx="9">
                  <c:v>15.32</c:v>
                </c:pt>
                <c:pt idx="10">
                  <c:v>13.675000000000001</c:v>
                </c:pt>
                <c:pt idx="11">
                  <c:v>15.414999999999999</c:v>
                </c:pt>
                <c:pt idx="12">
                  <c:v>30.115000000000002</c:v>
                </c:pt>
                <c:pt idx="13">
                  <c:v>31.49</c:v>
                </c:pt>
                <c:pt idx="14">
                  <c:v>29.575000000000003</c:v>
                </c:pt>
                <c:pt idx="15">
                  <c:v>24.365000000000002</c:v>
                </c:pt>
                <c:pt idx="16">
                  <c:v>32.064999999999998</c:v>
                </c:pt>
                <c:pt idx="17">
                  <c:v>26.535</c:v>
                </c:pt>
                <c:pt idx="18">
                  <c:v>44.08</c:v>
                </c:pt>
                <c:pt idx="19">
                  <c:v>97.07</c:v>
                </c:pt>
                <c:pt idx="20">
                  <c:v>95.585000000000008</c:v>
                </c:pt>
                <c:pt idx="21">
                  <c:v>131.2699999999999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scaling>
        <c:delete val="0"/>
        <c:axPos val="r"/>
        <c:numFmt formatCode="General"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B$2:$B$23</c:f>
              <c:numCache>
                <c:formatCode>General</c:formatCode>
                <c:ptCount val="22"/>
                <c:pt idx="0">
                  <c:v>13</c:v>
                </c:pt>
                <c:pt idx="1">
                  <c:v>1</c:v>
                </c:pt>
                <c:pt idx="2">
                  <c:v>5</c:v>
                </c:pt>
                <c:pt idx="3">
                  <c:v>14</c:v>
                </c:pt>
                <c:pt idx="4">
                  <c:v>123</c:v>
                </c:pt>
                <c:pt idx="5">
                  <c:v>0</c:v>
                </c:pt>
                <c:pt idx="6">
                  <c:v>0</c:v>
                </c:pt>
                <c:pt idx="7">
                  <c:v>0</c:v>
                </c:pt>
                <c:pt idx="8">
                  <c:v>13</c:v>
                </c:pt>
                <c:pt idx="9">
                  <c:v>0</c:v>
                </c:pt>
                <c:pt idx="10">
                  <c:v>0</c:v>
                </c:pt>
                <c:pt idx="11">
                  <c:v>0</c:v>
                </c:pt>
                <c:pt idx="12">
                  <c:v>0</c:v>
                </c:pt>
                <c:pt idx="13">
                  <c:v>0</c:v>
                </c:pt>
                <c:pt idx="14">
                  <c:v>0</c:v>
                </c:pt>
                <c:pt idx="15">
                  <c:v>1</c:v>
                </c:pt>
                <c:pt idx="16">
                  <c:v>0</c:v>
                </c:pt>
                <c:pt idx="17">
                  <c:v>8</c:v>
                </c:pt>
                <c:pt idx="18">
                  <c:v>0</c:v>
                </c:pt>
                <c:pt idx="19">
                  <c:v>0</c:v>
                </c:pt>
                <c:pt idx="20">
                  <c:v>6</c:v>
                </c:pt>
                <c:pt idx="21">
                  <c:v>0</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C$2:$C$23</c:f>
              <c:numCache>
                <c:formatCode>General</c:formatCode>
                <c:ptCount val="22"/>
                <c:pt idx="0">
                  <c:v>1.1399999999999999</c:v>
                </c:pt>
                <c:pt idx="1">
                  <c:v>2.15</c:v>
                </c:pt>
                <c:pt idx="2">
                  <c:v>4.46</c:v>
                </c:pt>
                <c:pt idx="3">
                  <c:v>4</c:v>
                </c:pt>
                <c:pt idx="4">
                  <c:v>3.95</c:v>
                </c:pt>
                <c:pt idx="5">
                  <c:v>6.9</c:v>
                </c:pt>
                <c:pt idx="6">
                  <c:v>7.58</c:v>
                </c:pt>
                <c:pt idx="7">
                  <c:v>8.27</c:v>
                </c:pt>
                <c:pt idx="8">
                  <c:v>10.92</c:v>
                </c:pt>
                <c:pt idx="9">
                  <c:v>18.79</c:v>
                </c:pt>
                <c:pt idx="10">
                  <c:v>15.11</c:v>
                </c:pt>
                <c:pt idx="11">
                  <c:v>16.61</c:v>
                </c:pt>
                <c:pt idx="12">
                  <c:v>39</c:v>
                </c:pt>
                <c:pt idx="13">
                  <c:v>38.69</c:v>
                </c:pt>
                <c:pt idx="14">
                  <c:v>34.56</c:v>
                </c:pt>
                <c:pt idx="15">
                  <c:v>22.36</c:v>
                </c:pt>
                <c:pt idx="16">
                  <c:v>35.590000000000003</c:v>
                </c:pt>
                <c:pt idx="17">
                  <c:v>22.95</c:v>
                </c:pt>
                <c:pt idx="18">
                  <c:v>45.5</c:v>
                </c:pt>
                <c:pt idx="19">
                  <c:v>101.71</c:v>
                </c:pt>
                <c:pt idx="20">
                  <c:v>96.37</c:v>
                </c:pt>
                <c:pt idx="21">
                  <c:v>144.0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D$2:$D$23</c:f>
              <c:numCache>
                <c:formatCode>General</c:formatCode>
                <c:ptCount val="22"/>
                <c:pt idx="0">
                  <c:v>1.28</c:v>
                </c:pt>
                <c:pt idx="1">
                  <c:v>1.78</c:v>
                </c:pt>
                <c:pt idx="2">
                  <c:v>3.46</c:v>
                </c:pt>
                <c:pt idx="3">
                  <c:v>3.85</c:v>
                </c:pt>
                <c:pt idx="4">
                  <c:v>3.95</c:v>
                </c:pt>
                <c:pt idx="5">
                  <c:v>4.05</c:v>
                </c:pt>
                <c:pt idx="6">
                  <c:v>4.84</c:v>
                </c:pt>
                <c:pt idx="7">
                  <c:v>8.89</c:v>
                </c:pt>
                <c:pt idx="8">
                  <c:v>9.8800000000000008</c:v>
                </c:pt>
                <c:pt idx="9">
                  <c:v>11.85</c:v>
                </c:pt>
                <c:pt idx="10">
                  <c:v>12.24</c:v>
                </c:pt>
                <c:pt idx="11">
                  <c:v>14.22</c:v>
                </c:pt>
                <c:pt idx="12">
                  <c:v>21.23</c:v>
                </c:pt>
                <c:pt idx="13">
                  <c:v>24.29</c:v>
                </c:pt>
                <c:pt idx="14">
                  <c:v>24.59</c:v>
                </c:pt>
                <c:pt idx="15">
                  <c:v>26.37</c:v>
                </c:pt>
                <c:pt idx="16">
                  <c:v>28.54</c:v>
                </c:pt>
                <c:pt idx="17">
                  <c:v>30.12</c:v>
                </c:pt>
                <c:pt idx="18">
                  <c:v>42.66</c:v>
                </c:pt>
                <c:pt idx="19">
                  <c:v>92.43</c:v>
                </c:pt>
                <c:pt idx="20">
                  <c:v>94.8</c:v>
                </c:pt>
                <c:pt idx="21">
                  <c:v>11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rPr lang="en-US"/>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rPr lang="en-US"/>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E$2:$E$23</c:f>
              <c:numCache>
                <c:formatCode>General</c:formatCode>
                <c:ptCount val="22"/>
                <c:pt idx="0">
                  <c:v>1.21</c:v>
                </c:pt>
                <c:pt idx="1">
                  <c:v>1.9649999999999999</c:v>
                </c:pt>
                <c:pt idx="2">
                  <c:v>3.96</c:v>
                </c:pt>
                <c:pt idx="3">
                  <c:v>3.9249999999999998</c:v>
                </c:pt>
                <c:pt idx="4">
                  <c:v>3.95</c:v>
                </c:pt>
                <c:pt idx="5">
                  <c:v>5.4749999999999996</c:v>
                </c:pt>
                <c:pt idx="6">
                  <c:v>6.21</c:v>
                </c:pt>
                <c:pt idx="7">
                  <c:v>8.58</c:v>
                </c:pt>
                <c:pt idx="8">
                  <c:v>10.4</c:v>
                </c:pt>
                <c:pt idx="9">
                  <c:v>15.32</c:v>
                </c:pt>
                <c:pt idx="10">
                  <c:v>13.675000000000001</c:v>
                </c:pt>
                <c:pt idx="11">
                  <c:v>15.414999999999999</c:v>
                </c:pt>
                <c:pt idx="12">
                  <c:v>30.115000000000002</c:v>
                </c:pt>
                <c:pt idx="13">
                  <c:v>31.49</c:v>
                </c:pt>
                <c:pt idx="14">
                  <c:v>29.575000000000003</c:v>
                </c:pt>
                <c:pt idx="15">
                  <c:v>24.365000000000002</c:v>
                </c:pt>
                <c:pt idx="16">
                  <c:v>32.064999999999998</c:v>
                </c:pt>
                <c:pt idx="17">
                  <c:v>26.535</c:v>
                </c:pt>
                <c:pt idx="18">
                  <c:v>44.08</c:v>
                </c:pt>
                <c:pt idx="19">
                  <c:v>97.07</c:v>
                </c:pt>
                <c:pt idx="20">
                  <c:v>95.585000000000008</c:v>
                </c:pt>
                <c:pt idx="21">
                  <c:v>131.2699999999999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scaling>
        <c:delete val="0"/>
        <c:axPos val="r"/>
        <c:numFmt formatCode="General"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B$2:$B$23</c:f>
              <c:numCache>
                <c:formatCode>General</c:formatCode>
                <c:ptCount val="22"/>
                <c:pt idx="0">
                  <c:v>13</c:v>
                </c:pt>
                <c:pt idx="1">
                  <c:v>1</c:v>
                </c:pt>
                <c:pt idx="2">
                  <c:v>5</c:v>
                </c:pt>
                <c:pt idx="3">
                  <c:v>14</c:v>
                </c:pt>
                <c:pt idx="4">
                  <c:v>123</c:v>
                </c:pt>
                <c:pt idx="5">
                  <c:v>0</c:v>
                </c:pt>
                <c:pt idx="6">
                  <c:v>0</c:v>
                </c:pt>
                <c:pt idx="7">
                  <c:v>0</c:v>
                </c:pt>
                <c:pt idx="8">
                  <c:v>13</c:v>
                </c:pt>
                <c:pt idx="9">
                  <c:v>0</c:v>
                </c:pt>
                <c:pt idx="10">
                  <c:v>0</c:v>
                </c:pt>
                <c:pt idx="11">
                  <c:v>0</c:v>
                </c:pt>
                <c:pt idx="12">
                  <c:v>0</c:v>
                </c:pt>
                <c:pt idx="13">
                  <c:v>0</c:v>
                </c:pt>
                <c:pt idx="14">
                  <c:v>0</c:v>
                </c:pt>
                <c:pt idx="15">
                  <c:v>1</c:v>
                </c:pt>
                <c:pt idx="16">
                  <c:v>0</c:v>
                </c:pt>
                <c:pt idx="17">
                  <c:v>8</c:v>
                </c:pt>
                <c:pt idx="18">
                  <c:v>0</c:v>
                </c:pt>
                <c:pt idx="19">
                  <c:v>0</c:v>
                </c:pt>
                <c:pt idx="20">
                  <c:v>6</c:v>
                </c:pt>
                <c:pt idx="21">
                  <c:v>0</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C$2:$C$23</c:f>
              <c:numCache>
                <c:formatCode>General</c:formatCode>
                <c:ptCount val="22"/>
                <c:pt idx="0">
                  <c:v>1.1399999999999999</c:v>
                </c:pt>
                <c:pt idx="1">
                  <c:v>2.15</c:v>
                </c:pt>
                <c:pt idx="2">
                  <c:v>4.46</c:v>
                </c:pt>
                <c:pt idx="3">
                  <c:v>4</c:v>
                </c:pt>
                <c:pt idx="4">
                  <c:v>3.95</c:v>
                </c:pt>
                <c:pt idx="5">
                  <c:v>6.9</c:v>
                </c:pt>
                <c:pt idx="6">
                  <c:v>7.58</c:v>
                </c:pt>
                <c:pt idx="7">
                  <c:v>8.27</c:v>
                </c:pt>
                <c:pt idx="8">
                  <c:v>10.92</c:v>
                </c:pt>
                <c:pt idx="9">
                  <c:v>18.79</c:v>
                </c:pt>
                <c:pt idx="10">
                  <c:v>15.11</c:v>
                </c:pt>
                <c:pt idx="11">
                  <c:v>16.61</c:v>
                </c:pt>
                <c:pt idx="12">
                  <c:v>39</c:v>
                </c:pt>
                <c:pt idx="13">
                  <c:v>38.69</c:v>
                </c:pt>
                <c:pt idx="14">
                  <c:v>34.56</c:v>
                </c:pt>
                <c:pt idx="15">
                  <c:v>22.36</c:v>
                </c:pt>
                <c:pt idx="16">
                  <c:v>35.590000000000003</c:v>
                </c:pt>
                <c:pt idx="17">
                  <c:v>22.95</c:v>
                </c:pt>
                <c:pt idx="18">
                  <c:v>45.5</c:v>
                </c:pt>
                <c:pt idx="19">
                  <c:v>101.71</c:v>
                </c:pt>
                <c:pt idx="20">
                  <c:v>96.37</c:v>
                </c:pt>
                <c:pt idx="21">
                  <c:v>144.0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D$2:$D$23</c:f>
              <c:numCache>
                <c:formatCode>General</c:formatCode>
                <c:ptCount val="22"/>
                <c:pt idx="0">
                  <c:v>1.28</c:v>
                </c:pt>
                <c:pt idx="1">
                  <c:v>1.78</c:v>
                </c:pt>
                <c:pt idx="2">
                  <c:v>3.46</c:v>
                </c:pt>
                <c:pt idx="3">
                  <c:v>3.85</c:v>
                </c:pt>
                <c:pt idx="4">
                  <c:v>3.95</c:v>
                </c:pt>
                <c:pt idx="5">
                  <c:v>4.05</c:v>
                </c:pt>
                <c:pt idx="6">
                  <c:v>4.84</c:v>
                </c:pt>
                <c:pt idx="7">
                  <c:v>8.89</c:v>
                </c:pt>
                <c:pt idx="8">
                  <c:v>9.8800000000000008</c:v>
                </c:pt>
                <c:pt idx="9">
                  <c:v>11.85</c:v>
                </c:pt>
                <c:pt idx="10">
                  <c:v>12.24</c:v>
                </c:pt>
                <c:pt idx="11">
                  <c:v>14.22</c:v>
                </c:pt>
                <c:pt idx="12">
                  <c:v>21.23</c:v>
                </c:pt>
                <c:pt idx="13">
                  <c:v>24.29</c:v>
                </c:pt>
                <c:pt idx="14">
                  <c:v>24.59</c:v>
                </c:pt>
                <c:pt idx="15">
                  <c:v>26.37</c:v>
                </c:pt>
                <c:pt idx="16">
                  <c:v>28.54</c:v>
                </c:pt>
                <c:pt idx="17">
                  <c:v>30.12</c:v>
                </c:pt>
                <c:pt idx="18">
                  <c:v>42.66</c:v>
                </c:pt>
                <c:pt idx="19">
                  <c:v>92.43</c:v>
                </c:pt>
                <c:pt idx="20">
                  <c:v>94.8</c:v>
                </c:pt>
                <c:pt idx="21">
                  <c:v>11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rPr lang="en-US"/>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rPr lang="en-US"/>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E$2:$E$23</c:f>
              <c:numCache>
                <c:formatCode>General</c:formatCode>
                <c:ptCount val="22"/>
                <c:pt idx="0">
                  <c:v>1.21</c:v>
                </c:pt>
                <c:pt idx="1">
                  <c:v>1.9649999999999999</c:v>
                </c:pt>
                <c:pt idx="2">
                  <c:v>3.96</c:v>
                </c:pt>
                <c:pt idx="3">
                  <c:v>3.9249999999999998</c:v>
                </c:pt>
                <c:pt idx="4">
                  <c:v>3.95</c:v>
                </c:pt>
                <c:pt idx="5">
                  <c:v>5.4749999999999996</c:v>
                </c:pt>
                <c:pt idx="6">
                  <c:v>6.21</c:v>
                </c:pt>
                <c:pt idx="7">
                  <c:v>8.58</c:v>
                </c:pt>
                <c:pt idx="8">
                  <c:v>10.4</c:v>
                </c:pt>
                <c:pt idx="9">
                  <c:v>15.32</c:v>
                </c:pt>
                <c:pt idx="10">
                  <c:v>13.675000000000001</c:v>
                </c:pt>
                <c:pt idx="11">
                  <c:v>15.414999999999999</c:v>
                </c:pt>
                <c:pt idx="12">
                  <c:v>30.115000000000002</c:v>
                </c:pt>
                <c:pt idx="13">
                  <c:v>31.49</c:v>
                </c:pt>
                <c:pt idx="14">
                  <c:v>29.575000000000003</c:v>
                </c:pt>
                <c:pt idx="15">
                  <c:v>24.365000000000002</c:v>
                </c:pt>
                <c:pt idx="16">
                  <c:v>32.064999999999998</c:v>
                </c:pt>
                <c:pt idx="17">
                  <c:v>26.535</c:v>
                </c:pt>
                <c:pt idx="18">
                  <c:v>44.08</c:v>
                </c:pt>
                <c:pt idx="19">
                  <c:v>97.07</c:v>
                </c:pt>
                <c:pt idx="20">
                  <c:v>95.585000000000008</c:v>
                </c:pt>
                <c:pt idx="21">
                  <c:v>131.2699999999999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scaling>
        <c:delete val="0"/>
        <c:axPos val="r"/>
        <c:numFmt formatCode="General"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B$2:$B$23</c:f>
              <c:numCache>
                <c:formatCode>General</c:formatCode>
                <c:ptCount val="22"/>
                <c:pt idx="0">
                  <c:v>13</c:v>
                </c:pt>
                <c:pt idx="1">
                  <c:v>1</c:v>
                </c:pt>
                <c:pt idx="2">
                  <c:v>5</c:v>
                </c:pt>
                <c:pt idx="3">
                  <c:v>14</c:v>
                </c:pt>
                <c:pt idx="4">
                  <c:v>123</c:v>
                </c:pt>
                <c:pt idx="5">
                  <c:v>0</c:v>
                </c:pt>
                <c:pt idx="6">
                  <c:v>0</c:v>
                </c:pt>
                <c:pt idx="7">
                  <c:v>0</c:v>
                </c:pt>
                <c:pt idx="8">
                  <c:v>13</c:v>
                </c:pt>
                <c:pt idx="9">
                  <c:v>0</c:v>
                </c:pt>
                <c:pt idx="10">
                  <c:v>0</c:v>
                </c:pt>
                <c:pt idx="11">
                  <c:v>0</c:v>
                </c:pt>
                <c:pt idx="12">
                  <c:v>0</c:v>
                </c:pt>
                <c:pt idx="13">
                  <c:v>0</c:v>
                </c:pt>
                <c:pt idx="14">
                  <c:v>0</c:v>
                </c:pt>
                <c:pt idx="15">
                  <c:v>1</c:v>
                </c:pt>
                <c:pt idx="16">
                  <c:v>0</c:v>
                </c:pt>
                <c:pt idx="17">
                  <c:v>8</c:v>
                </c:pt>
                <c:pt idx="18">
                  <c:v>0</c:v>
                </c:pt>
                <c:pt idx="19">
                  <c:v>0</c:v>
                </c:pt>
                <c:pt idx="20">
                  <c:v>6</c:v>
                </c:pt>
                <c:pt idx="21">
                  <c:v>0</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C$2:$C$23</c:f>
              <c:numCache>
                <c:formatCode>General</c:formatCode>
                <c:ptCount val="22"/>
                <c:pt idx="0">
                  <c:v>1.1399999999999999</c:v>
                </c:pt>
                <c:pt idx="1">
                  <c:v>2.15</c:v>
                </c:pt>
                <c:pt idx="2">
                  <c:v>4.46</c:v>
                </c:pt>
                <c:pt idx="3">
                  <c:v>4</c:v>
                </c:pt>
                <c:pt idx="4">
                  <c:v>3.95</c:v>
                </c:pt>
                <c:pt idx="5">
                  <c:v>6.9</c:v>
                </c:pt>
                <c:pt idx="6">
                  <c:v>7.58</c:v>
                </c:pt>
                <c:pt idx="7">
                  <c:v>8.27</c:v>
                </c:pt>
                <c:pt idx="8">
                  <c:v>10.92</c:v>
                </c:pt>
                <c:pt idx="9">
                  <c:v>18.79</c:v>
                </c:pt>
                <c:pt idx="10">
                  <c:v>15.11</c:v>
                </c:pt>
                <c:pt idx="11">
                  <c:v>16.61</c:v>
                </c:pt>
                <c:pt idx="12">
                  <c:v>39</c:v>
                </c:pt>
                <c:pt idx="13">
                  <c:v>38.69</c:v>
                </c:pt>
                <c:pt idx="14">
                  <c:v>34.56</c:v>
                </c:pt>
                <c:pt idx="15">
                  <c:v>22.36</c:v>
                </c:pt>
                <c:pt idx="16">
                  <c:v>35.590000000000003</c:v>
                </c:pt>
                <c:pt idx="17">
                  <c:v>22.95</c:v>
                </c:pt>
                <c:pt idx="18">
                  <c:v>45.5</c:v>
                </c:pt>
                <c:pt idx="19">
                  <c:v>101.71</c:v>
                </c:pt>
                <c:pt idx="20">
                  <c:v>96.37</c:v>
                </c:pt>
                <c:pt idx="21">
                  <c:v>144.0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D$2:$D$23</c:f>
              <c:numCache>
                <c:formatCode>General</c:formatCode>
                <c:ptCount val="22"/>
                <c:pt idx="0">
                  <c:v>1.28</c:v>
                </c:pt>
                <c:pt idx="1">
                  <c:v>1.78</c:v>
                </c:pt>
                <c:pt idx="2">
                  <c:v>3.46</c:v>
                </c:pt>
                <c:pt idx="3">
                  <c:v>3.85</c:v>
                </c:pt>
                <c:pt idx="4">
                  <c:v>3.95</c:v>
                </c:pt>
                <c:pt idx="5">
                  <c:v>4.05</c:v>
                </c:pt>
                <c:pt idx="6">
                  <c:v>4.84</c:v>
                </c:pt>
                <c:pt idx="7">
                  <c:v>8.89</c:v>
                </c:pt>
                <c:pt idx="8">
                  <c:v>9.8800000000000008</c:v>
                </c:pt>
                <c:pt idx="9">
                  <c:v>11.85</c:v>
                </c:pt>
                <c:pt idx="10">
                  <c:v>12.24</c:v>
                </c:pt>
                <c:pt idx="11">
                  <c:v>14.22</c:v>
                </c:pt>
                <c:pt idx="12">
                  <c:v>21.23</c:v>
                </c:pt>
                <c:pt idx="13">
                  <c:v>24.29</c:v>
                </c:pt>
                <c:pt idx="14">
                  <c:v>24.59</c:v>
                </c:pt>
                <c:pt idx="15">
                  <c:v>26.37</c:v>
                </c:pt>
                <c:pt idx="16">
                  <c:v>28.54</c:v>
                </c:pt>
                <c:pt idx="17">
                  <c:v>30.12</c:v>
                </c:pt>
                <c:pt idx="18">
                  <c:v>42.66</c:v>
                </c:pt>
                <c:pt idx="19">
                  <c:v>92.43</c:v>
                </c:pt>
                <c:pt idx="20">
                  <c:v>94.8</c:v>
                </c:pt>
                <c:pt idx="21">
                  <c:v>11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rPr lang="en-US"/>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rPr lang="en-US"/>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E$2:$E$23</c:f>
              <c:numCache>
                <c:formatCode>General</c:formatCode>
                <c:ptCount val="22"/>
                <c:pt idx="0">
                  <c:v>1.21</c:v>
                </c:pt>
                <c:pt idx="1">
                  <c:v>1.9649999999999999</c:v>
                </c:pt>
                <c:pt idx="2">
                  <c:v>3.96</c:v>
                </c:pt>
                <c:pt idx="3">
                  <c:v>3.9249999999999998</c:v>
                </c:pt>
                <c:pt idx="4">
                  <c:v>3.95</c:v>
                </c:pt>
                <c:pt idx="5">
                  <c:v>5.4749999999999996</c:v>
                </c:pt>
                <c:pt idx="6">
                  <c:v>6.21</c:v>
                </c:pt>
                <c:pt idx="7">
                  <c:v>8.58</c:v>
                </c:pt>
                <c:pt idx="8">
                  <c:v>10.4</c:v>
                </c:pt>
                <c:pt idx="9">
                  <c:v>15.32</c:v>
                </c:pt>
                <c:pt idx="10">
                  <c:v>13.675000000000001</c:v>
                </c:pt>
                <c:pt idx="11">
                  <c:v>15.414999999999999</c:v>
                </c:pt>
                <c:pt idx="12">
                  <c:v>30.115000000000002</c:v>
                </c:pt>
                <c:pt idx="13">
                  <c:v>31.49</c:v>
                </c:pt>
                <c:pt idx="14">
                  <c:v>29.575000000000003</c:v>
                </c:pt>
                <c:pt idx="15">
                  <c:v>24.365000000000002</c:v>
                </c:pt>
                <c:pt idx="16">
                  <c:v>32.064999999999998</c:v>
                </c:pt>
                <c:pt idx="17">
                  <c:v>26.535</c:v>
                </c:pt>
                <c:pt idx="18">
                  <c:v>44.08</c:v>
                </c:pt>
                <c:pt idx="19">
                  <c:v>97.07</c:v>
                </c:pt>
                <c:pt idx="20">
                  <c:v>95.585000000000008</c:v>
                </c:pt>
                <c:pt idx="21">
                  <c:v>131.2699999999999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scaling>
        <c:delete val="0"/>
        <c:axPos val="r"/>
        <c:numFmt formatCode="General"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B$2:$B$23</c:f>
              <c:numCache>
                <c:formatCode>General</c:formatCode>
                <c:ptCount val="22"/>
                <c:pt idx="0">
                  <c:v>13</c:v>
                </c:pt>
                <c:pt idx="1">
                  <c:v>1</c:v>
                </c:pt>
                <c:pt idx="2">
                  <c:v>5</c:v>
                </c:pt>
                <c:pt idx="3">
                  <c:v>14</c:v>
                </c:pt>
                <c:pt idx="4">
                  <c:v>123</c:v>
                </c:pt>
                <c:pt idx="5">
                  <c:v>0</c:v>
                </c:pt>
                <c:pt idx="6">
                  <c:v>0</c:v>
                </c:pt>
                <c:pt idx="7">
                  <c:v>0</c:v>
                </c:pt>
                <c:pt idx="8">
                  <c:v>13</c:v>
                </c:pt>
                <c:pt idx="9">
                  <c:v>0</c:v>
                </c:pt>
                <c:pt idx="10">
                  <c:v>0</c:v>
                </c:pt>
                <c:pt idx="11">
                  <c:v>0</c:v>
                </c:pt>
                <c:pt idx="12">
                  <c:v>0</c:v>
                </c:pt>
                <c:pt idx="13">
                  <c:v>0</c:v>
                </c:pt>
                <c:pt idx="14">
                  <c:v>0</c:v>
                </c:pt>
                <c:pt idx="15">
                  <c:v>1</c:v>
                </c:pt>
                <c:pt idx="16">
                  <c:v>0</c:v>
                </c:pt>
                <c:pt idx="17">
                  <c:v>8</c:v>
                </c:pt>
                <c:pt idx="18">
                  <c:v>0</c:v>
                </c:pt>
                <c:pt idx="19">
                  <c:v>0</c:v>
                </c:pt>
                <c:pt idx="20">
                  <c:v>6</c:v>
                </c:pt>
                <c:pt idx="21">
                  <c:v>0</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C$2:$C$23</c:f>
              <c:numCache>
                <c:formatCode>General</c:formatCode>
                <c:ptCount val="22"/>
                <c:pt idx="0">
                  <c:v>1.1399999999999999</c:v>
                </c:pt>
                <c:pt idx="1">
                  <c:v>2.15</c:v>
                </c:pt>
                <c:pt idx="2">
                  <c:v>4.46</c:v>
                </c:pt>
                <c:pt idx="3">
                  <c:v>4</c:v>
                </c:pt>
                <c:pt idx="4">
                  <c:v>3.95</c:v>
                </c:pt>
                <c:pt idx="5">
                  <c:v>6.9</c:v>
                </c:pt>
                <c:pt idx="6">
                  <c:v>7.58</c:v>
                </c:pt>
                <c:pt idx="7">
                  <c:v>8.27</c:v>
                </c:pt>
                <c:pt idx="8">
                  <c:v>10.92</c:v>
                </c:pt>
                <c:pt idx="9">
                  <c:v>18.79</c:v>
                </c:pt>
                <c:pt idx="10">
                  <c:v>15.11</c:v>
                </c:pt>
                <c:pt idx="11">
                  <c:v>16.61</c:v>
                </c:pt>
                <c:pt idx="12">
                  <c:v>39</c:v>
                </c:pt>
                <c:pt idx="13">
                  <c:v>38.69</c:v>
                </c:pt>
                <c:pt idx="14">
                  <c:v>34.56</c:v>
                </c:pt>
                <c:pt idx="15">
                  <c:v>22.36</c:v>
                </c:pt>
                <c:pt idx="16">
                  <c:v>35.590000000000003</c:v>
                </c:pt>
                <c:pt idx="17">
                  <c:v>22.95</c:v>
                </c:pt>
                <c:pt idx="18">
                  <c:v>45.5</c:v>
                </c:pt>
                <c:pt idx="19">
                  <c:v>101.71</c:v>
                </c:pt>
                <c:pt idx="20">
                  <c:v>96.37</c:v>
                </c:pt>
                <c:pt idx="21">
                  <c:v>144.0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D$2:$D$23</c:f>
              <c:numCache>
                <c:formatCode>General</c:formatCode>
                <c:ptCount val="22"/>
                <c:pt idx="0">
                  <c:v>1.28</c:v>
                </c:pt>
                <c:pt idx="1">
                  <c:v>1.78</c:v>
                </c:pt>
                <c:pt idx="2">
                  <c:v>3.46</c:v>
                </c:pt>
                <c:pt idx="3">
                  <c:v>3.85</c:v>
                </c:pt>
                <c:pt idx="4">
                  <c:v>3.95</c:v>
                </c:pt>
                <c:pt idx="5">
                  <c:v>4.05</c:v>
                </c:pt>
                <c:pt idx="6">
                  <c:v>4.84</c:v>
                </c:pt>
                <c:pt idx="7">
                  <c:v>8.89</c:v>
                </c:pt>
                <c:pt idx="8">
                  <c:v>9.8800000000000008</c:v>
                </c:pt>
                <c:pt idx="9">
                  <c:v>11.85</c:v>
                </c:pt>
                <c:pt idx="10">
                  <c:v>12.24</c:v>
                </c:pt>
                <c:pt idx="11">
                  <c:v>14.22</c:v>
                </c:pt>
                <c:pt idx="12">
                  <c:v>21.23</c:v>
                </c:pt>
                <c:pt idx="13">
                  <c:v>24.29</c:v>
                </c:pt>
                <c:pt idx="14">
                  <c:v>24.59</c:v>
                </c:pt>
                <c:pt idx="15">
                  <c:v>26.37</c:v>
                </c:pt>
                <c:pt idx="16">
                  <c:v>28.54</c:v>
                </c:pt>
                <c:pt idx="17">
                  <c:v>30.12</c:v>
                </c:pt>
                <c:pt idx="18">
                  <c:v>42.66</c:v>
                </c:pt>
                <c:pt idx="19">
                  <c:v>92.43</c:v>
                </c:pt>
                <c:pt idx="20">
                  <c:v>94.8</c:v>
                </c:pt>
                <c:pt idx="21">
                  <c:v>11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rPr lang="en-US"/>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rPr lang="en-US"/>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E$2:$E$23</c:f>
              <c:numCache>
                <c:formatCode>General</c:formatCode>
                <c:ptCount val="22"/>
                <c:pt idx="0">
                  <c:v>1.21</c:v>
                </c:pt>
                <c:pt idx="1">
                  <c:v>1.9649999999999999</c:v>
                </c:pt>
                <c:pt idx="2">
                  <c:v>3.96</c:v>
                </c:pt>
                <c:pt idx="3">
                  <c:v>3.9249999999999998</c:v>
                </c:pt>
                <c:pt idx="4">
                  <c:v>3.95</c:v>
                </c:pt>
                <c:pt idx="5">
                  <c:v>5.4749999999999996</c:v>
                </c:pt>
                <c:pt idx="6">
                  <c:v>6.21</c:v>
                </c:pt>
                <c:pt idx="7">
                  <c:v>8.58</c:v>
                </c:pt>
                <c:pt idx="8">
                  <c:v>10.4</c:v>
                </c:pt>
                <c:pt idx="9">
                  <c:v>15.32</c:v>
                </c:pt>
                <c:pt idx="10">
                  <c:v>13.675000000000001</c:v>
                </c:pt>
                <c:pt idx="11">
                  <c:v>15.414999999999999</c:v>
                </c:pt>
                <c:pt idx="12">
                  <c:v>30.115000000000002</c:v>
                </c:pt>
                <c:pt idx="13">
                  <c:v>31.49</c:v>
                </c:pt>
                <c:pt idx="14">
                  <c:v>29.575000000000003</c:v>
                </c:pt>
                <c:pt idx="15">
                  <c:v>24.365000000000002</c:v>
                </c:pt>
                <c:pt idx="16">
                  <c:v>32.064999999999998</c:v>
                </c:pt>
                <c:pt idx="17">
                  <c:v>26.535</c:v>
                </c:pt>
                <c:pt idx="18">
                  <c:v>44.08</c:v>
                </c:pt>
                <c:pt idx="19">
                  <c:v>97.07</c:v>
                </c:pt>
                <c:pt idx="20">
                  <c:v>95.585000000000008</c:v>
                </c:pt>
                <c:pt idx="21">
                  <c:v>131.2699999999999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scaling>
        <c:delete val="0"/>
        <c:axPos val="r"/>
        <c:numFmt formatCode="General"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B$2:$B$23</c:f>
              <c:numCache>
                <c:formatCode>General</c:formatCode>
                <c:ptCount val="22"/>
                <c:pt idx="0">
                  <c:v>13</c:v>
                </c:pt>
                <c:pt idx="1">
                  <c:v>1</c:v>
                </c:pt>
                <c:pt idx="2">
                  <c:v>5</c:v>
                </c:pt>
                <c:pt idx="3">
                  <c:v>14</c:v>
                </c:pt>
                <c:pt idx="4">
                  <c:v>123</c:v>
                </c:pt>
                <c:pt idx="5">
                  <c:v>0</c:v>
                </c:pt>
                <c:pt idx="6">
                  <c:v>0</c:v>
                </c:pt>
                <c:pt idx="7">
                  <c:v>0</c:v>
                </c:pt>
                <c:pt idx="8">
                  <c:v>13</c:v>
                </c:pt>
                <c:pt idx="9">
                  <c:v>0</c:v>
                </c:pt>
                <c:pt idx="10">
                  <c:v>0</c:v>
                </c:pt>
                <c:pt idx="11">
                  <c:v>0</c:v>
                </c:pt>
                <c:pt idx="12">
                  <c:v>0</c:v>
                </c:pt>
                <c:pt idx="13">
                  <c:v>0</c:v>
                </c:pt>
                <c:pt idx="14">
                  <c:v>0</c:v>
                </c:pt>
                <c:pt idx="15">
                  <c:v>1</c:v>
                </c:pt>
                <c:pt idx="16">
                  <c:v>0</c:v>
                </c:pt>
                <c:pt idx="17">
                  <c:v>8</c:v>
                </c:pt>
                <c:pt idx="18">
                  <c:v>0</c:v>
                </c:pt>
                <c:pt idx="19">
                  <c:v>0</c:v>
                </c:pt>
                <c:pt idx="20">
                  <c:v>6</c:v>
                </c:pt>
                <c:pt idx="21">
                  <c:v>0</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C$2:$C$23</c:f>
              <c:numCache>
                <c:formatCode>General</c:formatCode>
                <c:ptCount val="22"/>
                <c:pt idx="0">
                  <c:v>1.1399999999999999</c:v>
                </c:pt>
                <c:pt idx="1">
                  <c:v>2.15</c:v>
                </c:pt>
                <c:pt idx="2">
                  <c:v>4.46</c:v>
                </c:pt>
                <c:pt idx="3">
                  <c:v>4</c:v>
                </c:pt>
                <c:pt idx="4">
                  <c:v>3.95</c:v>
                </c:pt>
                <c:pt idx="5">
                  <c:v>6.9</c:v>
                </c:pt>
                <c:pt idx="6">
                  <c:v>7.58</c:v>
                </c:pt>
                <c:pt idx="7">
                  <c:v>8.27</c:v>
                </c:pt>
                <c:pt idx="8">
                  <c:v>10.92</c:v>
                </c:pt>
                <c:pt idx="9">
                  <c:v>18.79</c:v>
                </c:pt>
                <c:pt idx="10">
                  <c:v>15.11</c:v>
                </c:pt>
                <c:pt idx="11">
                  <c:v>16.61</c:v>
                </c:pt>
                <c:pt idx="12">
                  <c:v>39</c:v>
                </c:pt>
                <c:pt idx="13">
                  <c:v>38.69</c:v>
                </c:pt>
                <c:pt idx="14">
                  <c:v>34.56</c:v>
                </c:pt>
                <c:pt idx="15">
                  <c:v>22.36</c:v>
                </c:pt>
                <c:pt idx="16">
                  <c:v>35.590000000000003</c:v>
                </c:pt>
                <c:pt idx="17">
                  <c:v>22.95</c:v>
                </c:pt>
                <c:pt idx="18">
                  <c:v>45.5</c:v>
                </c:pt>
                <c:pt idx="19">
                  <c:v>101.71</c:v>
                </c:pt>
                <c:pt idx="20">
                  <c:v>96.37</c:v>
                </c:pt>
                <c:pt idx="21">
                  <c:v>144.0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D$2:$D$23</c:f>
              <c:numCache>
                <c:formatCode>General</c:formatCode>
                <c:ptCount val="22"/>
                <c:pt idx="0">
                  <c:v>1.28</c:v>
                </c:pt>
                <c:pt idx="1">
                  <c:v>1.78</c:v>
                </c:pt>
                <c:pt idx="2">
                  <c:v>3.46</c:v>
                </c:pt>
                <c:pt idx="3">
                  <c:v>3.85</c:v>
                </c:pt>
                <c:pt idx="4">
                  <c:v>3.95</c:v>
                </c:pt>
                <c:pt idx="5">
                  <c:v>4.05</c:v>
                </c:pt>
                <c:pt idx="6">
                  <c:v>4.84</c:v>
                </c:pt>
                <c:pt idx="7">
                  <c:v>8.89</c:v>
                </c:pt>
                <c:pt idx="8">
                  <c:v>9.8800000000000008</c:v>
                </c:pt>
                <c:pt idx="9">
                  <c:v>11.85</c:v>
                </c:pt>
                <c:pt idx="10">
                  <c:v>12.24</c:v>
                </c:pt>
                <c:pt idx="11">
                  <c:v>14.22</c:v>
                </c:pt>
                <c:pt idx="12">
                  <c:v>21.23</c:v>
                </c:pt>
                <c:pt idx="13">
                  <c:v>24.29</c:v>
                </c:pt>
                <c:pt idx="14">
                  <c:v>24.59</c:v>
                </c:pt>
                <c:pt idx="15">
                  <c:v>26.37</c:v>
                </c:pt>
                <c:pt idx="16">
                  <c:v>28.54</c:v>
                </c:pt>
                <c:pt idx="17">
                  <c:v>30.12</c:v>
                </c:pt>
                <c:pt idx="18">
                  <c:v>42.66</c:v>
                </c:pt>
                <c:pt idx="19">
                  <c:v>92.43</c:v>
                </c:pt>
                <c:pt idx="20">
                  <c:v>94.8</c:v>
                </c:pt>
                <c:pt idx="21">
                  <c:v>11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rPr lang="en-US"/>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rPr lang="en-US"/>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E$2:$E$23</c:f>
              <c:numCache>
                <c:formatCode>General</c:formatCode>
                <c:ptCount val="22"/>
                <c:pt idx="0">
                  <c:v>1.21</c:v>
                </c:pt>
                <c:pt idx="1">
                  <c:v>1.9649999999999999</c:v>
                </c:pt>
                <c:pt idx="2">
                  <c:v>3.96</c:v>
                </c:pt>
                <c:pt idx="3">
                  <c:v>3.9249999999999998</c:v>
                </c:pt>
                <c:pt idx="4">
                  <c:v>3.95</c:v>
                </c:pt>
                <c:pt idx="5">
                  <c:v>5.4749999999999996</c:v>
                </c:pt>
                <c:pt idx="6">
                  <c:v>6.21</c:v>
                </c:pt>
                <c:pt idx="7">
                  <c:v>8.58</c:v>
                </c:pt>
                <c:pt idx="8">
                  <c:v>10.4</c:v>
                </c:pt>
                <c:pt idx="9">
                  <c:v>15.32</c:v>
                </c:pt>
                <c:pt idx="10">
                  <c:v>13.675000000000001</c:v>
                </c:pt>
                <c:pt idx="11">
                  <c:v>15.414999999999999</c:v>
                </c:pt>
                <c:pt idx="12">
                  <c:v>30.115000000000002</c:v>
                </c:pt>
                <c:pt idx="13">
                  <c:v>31.49</c:v>
                </c:pt>
                <c:pt idx="14">
                  <c:v>29.575000000000003</c:v>
                </c:pt>
                <c:pt idx="15">
                  <c:v>24.365000000000002</c:v>
                </c:pt>
                <c:pt idx="16">
                  <c:v>32.064999999999998</c:v>
                </c:pt>
                <c:pt idx="17">
                  <c:v>26.535</c:v>
                </c:pt>
                <c:pt idx="18">
                  <c:v>44.08</c:v>
                </c:pt>
                <c:pt idx="19">
                  <c:v>97.07</c:v>
                </c:pt>
                <c:pt idx="20">
                  <c:v>95.585000000000008</c:v>
                </c:pt>
                <c:pt idx="21">
                  <c:v>131.2699999999999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scaling>
        <c:delete val="0"/>
        <c:axPos val="r"/>
        <c:numFmt formatCode="General"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B$2:$B$23</c:f>
              <c:numCache>
                <c:formatCode>General</c:formatCode>
                <c:ptCount val="22"/>
                <c:pt idx="0">
                  <c:v>13</c:v>
                </c:pt>
                <c:pt idx="1">
                  <c:v>1</c:v>
                </c:pt>
                <c:pt idx="2">
                  <c:v>5</c:v>
                </c:pt>
                <c:pt idx="3">
                  <c:v>14</c:v>
                </c:pt>
                <c:pt idx="4">
                  <c:v>123</c:v>
                </c:pt>
                <c:pt idx="5">
                  <c:v>0</c:v>
                </c:pt>
                <c:pt idx="6">
                  <c:v>0</c:v>
                </c:pt>
                <c:pt idx="7">
                  <c:v>0</c:v>
                </c:pt>
                <c:pt idx="8">
                  <c:v>13</c:v>
                </c:pt>
                <c:pt idx="9">
                  <c:v>0</c:v>
                </c:pt>
                <c:pt idx="10">
                  <c:v>0</c:v>
                </c:pt>
                <c:pt idx="11">
                  <c:v>0</c:v>
                </c:pt>
                <c:pt idx="12">
                  <c:v>0</c:v>
                </c:pt>
                <c:pt idx="13">
                  <c:v>0</c:v>
                </c:pt>
                <c:pt idx="14">
                  <c:v>0</c:v>
                </c:pt>
                <c:pt idx="15">
                  <c:v>1</c:v>
                </c:pt>
                <c:pt idx="16">
                  <c:v>0</c:v>
                </c:pt>
                <c:pt idx="17">
                  <c:v>8</c:v>
                </c:pt>
                <c:pt idx="18">
                  <c:v>0</c:v>
                </c:pt>
                <c:pt idx="19">
                  <c:v>0</c:v>
                </c:pt>
                <c:pt idx="20">
                  <c:v>6</c:v>
                </c:pt>
                <c:pt idx="21">
                  <c:v>0</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C$2:$C$23</c:f>
              <c:numCache>
                <c:formatCode>General</c:formatCode>
                <c:ptCount val="22"/>
                <c:pt idx="0">
                  <c:v>1.1399999999999999</c:v>
                </c:pt>
                <c:pt idx="1">
                  <c:v>2.15</c:v>
                </c:pt>
                <c:pt idx="2">
                  <c:v>4.46</c:v>
                </c:pt>
                <c:pt idx="3">
                  <c:v>4</c:v>
                </c:pt>
                <c:pt idx="4">
                  <c:v>3.95</c:v>
                </c:pt>
                <c:pt idx="5">
                  <c:v>6.9</c:v>
                </c:pt>
                <c:pt idx="6">
                  <c:v>7.58</c:v>
                </c:pt>
                <c:pt idx="7">
                  <c:v>8.27</c:v>
                </c:pt>
                <c:pt idx="8">
                  <c:v>10.92</c:v>
                </c:pt>
                <c:pt idx="9">
                  <c:v>18.79</c:v>
                </c:pt>
                <c:pt idx="10">
                  <c:v>15.11</c:v>
                </c:pt>
                <c:pt idx="11">
                  <c:v>16.61</c:v>
                </c:pt>
                <c:pt idx="12">
                  <c:v>39</c:v>
                </c:pt>
                <c:pt idx="13">
                  <c:v>38.69</c:v>
                </c:pt>
                <c:pt idx="14">
                  <c:v>34.56</c:v>
                </c:pt>
                <c:pt idx="15">
                  <c:v>22.36</c:v>
                </c:pt>
                <c:pt idx="16">
                  <c:v>35.590000000000003</c:v>
                </c:pt>
                <c:pt idx="17">
                  <c:v>22.95</c:v>
                </c:pt>
                <c:pt idx="18">
                  <c:v>45.5</c:v>
                </c:pt>
                <c:pt idx="19">
                  <c:v>101.71</c:v>
                </c:pt>
                <c:pt idx="20">
                  <c:v>96.37</c:v>
                </c:pt>
                <c:pt idx="21">
                  <c:v>144.0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D$2:$D$23</c:f>
              <c:numCache>
                <c:formatCode>General</c:formatCode>
                <c:ptCount val="22"/>
                <c:pt idx="0">
                  <c:v>1.28</c:v>
                </c:pt>
                <c:pt idx="1">
                  <c:v>1.78</c:v>
                </c:pt>
                <c:pt idx="2">
                  <c:v>3.46</c:v>
                </c:pt>
                <c:pt idx="3">
                  <c:v>3.85</c:v>
                </c:pt>
                <c:pt idx="4">
                  <c:v>3.95</c:v>
                </c:pt>
                <c:pt idx="5">
                  <c:v>4.05</c:v>
                </c:pt>
                <c:pt idx="6">
                  <c:v>4.84</c:v>
                </c:pt>
                <c:pt idx="7">
                  <c:v>8.89</c:v>
                </c:pt>
                <c:pt idx="8">
                  <c:v>9.8800000000000008</c:v>
                </c:pt>
                <c:pt idx="9">
                  <c:v>11.85</c:v>
                </c:pt>
                <c:pt idx="10">
                  <c:v>12.24</c:v>
                </c:pt>
                <c:pt idx="11">
                  <c:v>14.22</c:v>
                </c:pt>
                <c:pt idx="12">
                  <c:v>21.23</c:v>
                </c:pt>
                <c:pt idx="13">
                  <c:v>24.29</c:v>
                </c:pt>
                <c:pt idx="14">
                  <c:v>24.59</c:v>
                </c:pt>
                <c:pt idx="15">
                  <c:v>26.37</c:v>
                </c:pt>
                <c:pt idx="16">
                  <c:v>28.54</c:v>
                </c:pt>
                <c:pt idx="17">
                  <c:v>30.12</c:v>
                </c:pt>
                <c:pt idx="18">
                  <c:v>42.66</c:v>
                </c:pt>
                <c:pt idx="19">
                  <c:v>92.43</c:v>
                </c:pt>
                <c:pt idx="20">
                  <c:v>94.8</c:v>
                </c:pt>
                <c:pt idx="21">
                  <c:v>11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rPr lang="en-US"/>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rPr lang="en-US"/>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E$2:$E$23</c:f>
              <c:numCache>
                <c:formatCode>General</c:formatCode>
                <c:ptCount val="22"/>
                <c:pt idx="0">
                  <c:v>1.21</c:v>
                </c:pt>
                <c:pt idx="1">
                  <c:v>1.9649999999999999</c:v>
                </c:pt>
                <c:pt idx="2">
                  <c:v>3.96</c:v>
                </c:pt>
                <c:pt idx="3">
                  <c:v>3.9249999999999998</c:v>
                </c:pt>
                <c:pt idx="4">
                  <c:v>3.95</c:v>
                </c:pt>
                <c:pt idx="5">
                  <c:v>5.4749999999999996</c:v>
                </c:pt>
                <c:pt idx="6">
                  <c:v>6.21</c:v>
                </c:pt>
                <c:pt idx="7">
                  <c:v>8.58</c:v>
                </c:pt>
                <c:pt idx="8">
                  <c:v>10.4</c:v>
                </c:pt>
                <c:pt idx="9">
                  <c:v>15.32</c:v>
                </c:pt>
                <c:pt idx="10">
                  <c:v>13.675000000000001</c:v>
                </c:pt>
                <c:pt idx="11">
                  <c:v>15.414999999999999</c:v>
                </c:pt>
                <c:pt idx="12">
                  <c:v>30.115000000000002</c:v>
                </c:pt>
                <c:pt idx="13">
                  <c:v>31.49</c:v>
                </c:pt>
                <c:pt idx="14">
                  <c:v>29.575000000000003</c:v>
                </c:pt>
                <c:pt idx="15">
                  <c:v>24.365000000000002</c:v>
                </c:pt>
                <c:pt idx="16">
                  <c:v>32.064999999999998</c:v>
                </c:pt>
                <c:pt idx="17">
                  <c:v>26.535</c:v>
                </c:pt>
                <c:pt idx="18">
                  <c:v>44.08</c:v>
                </c:pt>
                <c:pt idx="19">
                  <c:v>97.07</c:v>
                </c:pt>
                <c:pt idx="20">
                  <c:v>95.585000000000008</c:v>
                </c:pt>
                <c:pt idx="21">
                  <c:v>131.2699999999999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scaling>
        <c:delete val="0"/>
        <c:axPos val="r"/>
        <c:numFmt formatCode="General"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B$2:$B$23</c:f>
              <c:numCache>
                <c:formatCode>General</c:formatCode>
                <c:ptCount val="22"/>
                <c:pt idx="0">
                  <c:v>13</c:v>
                </c:pt>
                <c:pt idx="1">
                  <c:v>1</c:v>
                </c:pt>
                <c:pt idx="2">
                  <c:v>5</c:v>
                </c:pt>
                <c:pt idx="3">
                  <c:v>14</c:v>
                </c:pt>
                <c:pt idx="4">
                  <c:v>123</c:v>
                </c:pt>
                <c:pt idx="5">
                  <c:v>0</c:v>
                </c:pt>
                <c:pt idx="6">
                  <c:v>0</c:v>
                </c:pt>
                <c:pt idx="7">
                  <c:v>0</c:v>
                </c:pt>
                <c:pt idx="8">
                  <c:v>13</c:v>
                </c:pt>
                <c:pt idx="9">
                  <c:v>0</c:v>
                </c:pt>
                <c:pt idx="10">
                  <c:v>0</c:v>
                </c:pt>
                <c:pt idx="11">
                  <c:v>0</c:v>
                </c:pt>
                <c:pt idx="12">
                  <c:v>0</c:v>
                </c:pt>
                <c:pt idx="13">
                  <c:v>0</c:v>
                </c:pt>
                <c:pt idx="14">
                  <c:v>0</c:v>
                </c:pt>
                <c:pt idx="15">
                  <c:v>1</c:v>
                </c:pt>
                <c:pt idx="16">
                  <c:v>0</c:v>
                </c:pt>
                <c:pt idx="17">
                  <c:v>8</c:v>
                </c:pt>
                <c:pt idx="18">
                  <c:v>0</c:v>
                </c:pt>
                <c:pt idx="19">
                  <c:v>0</c:v>
                </c:pt>
                <c:pt idx="20">
                  <c:v>6</c:v>
                </c:pt>
                <c:pt idx="21">
                  <c:v>0</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C$2:$C$23</c:f>
              <c:numCache>
                <c:formatCode>General</c:formatCode>
                <c:ptCount val="22"/>
                <c:pt idx="0">
                  <c:v>1.1399999999999999</c:v>
                </c:pt>
                <c:pt idx="1">
                  <c:v>2.15</c:v>
                </c:pt>
                <c:pt idx="2">
                  <c:v>4.46</c:v>
                </c:pt>
                <c:pt idx="3">
                  <c:v>4</c:v>
                </c:pt>
                <c:pt idx="4">
                  <c:v>3.95</c:v>
                </c:pt>
                <c:pt idx="5">
                  <c:v>6.9</c:v>
                </c:pt>
                <c:pt idx="6">
                  <c:v>7.58</c:v>
                </c:pt>
                <c:pt idx="7">
                  <c:v>8.27</c:v>
                </c:pt>
                <c:pt idx="8">
                  <c:v>10.92</c:v>
                </c:pt>
                <c:pt idx="9">
                  <c:v>18.79</c:v>
                </c:pt>
                <c:pt idx="10">
                  <c:v>15.11</c:v>
                </c:pt>
                <c:pt idx="11">
                  <c:v>16.61</c:v>
                </c:pt>
                <c:pt idx="12">
                  <c:v>39</c:v>
                </c:pt>
                <c:pt idx="13">
                  <c:v>38.69</c:v>
                </c:pt>
                <c:pt idx="14">
                  <c:v>34.56</c:v>
                </c:pt>
                <c:pt idx="15">
                  <c:v>22.36</c:v>
                </c:pt>
                <c:pt idx="16">
                  <c:v>35.590000000000003</c:v>
                </c:pt>
                <c:pt idx="17">
                  <c:v>22.95</c:v>
                </c:pt>
                <c:pt idx="18">
                  <c:v>45.5</c:v>
                </c:pt>
                <c:pt idx="19">
                  <c:v>101.71</c:v>
                </c:pt>
                <c:pt idx="20">
                  <c:v>96.37</c:v>
                </c:pt>
                <c:pt idx="21">
                  <c:v>144.0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D$2:$D$23</c:f>
              <c:numCache>
                <c:formatCode>General</c:formatCode>
                <c:ptCount val="22"/>
                <c:pt idx="0">
                  <c:v>1.28</c:v>
                </c:pt>
                <c:pt idx="1">
                  <c:v>1.78</c:v>
                </c:pt>
                <c:pt idx="2">
                  <c:v>3.46</c:v>
                </c:pt>
                <c:pt idx="3">
                  <c:v>3.85</c:v>
                </c:pt>
                <c:pt idx="4">
                  <c:v>3.95</c:v>
                </c:pt>
                <c:pt idx="5">
                  <c:v>4.05</c:v>
                </c:pt>
                <c:pt idx="6">
                  <c:v>4.84</c:v>
                </c:pt>
                <c:pt idx="7">
                  <c:v>8.89</c:v>
                </c:pt>
                <c:pt idx="8">
                  <c:v>9.8800000000000008</c:v>
                </c:pt>
                <c:pt idx="9">
                  <c:v>11.85</c:v>
                </c:pt>
                <c:pt idx="10">
                  <c:v>12.24</c:v>
                </c:pt>
                <c:pt idx="11">
                  <c:v>14.22</c:v>
                </c:pt>
                <c:pt idx="12">
                  <c:v>21.23</c:v>
                </c:pt>
                <c:pt idx="13">
                  <c:v>24.29</c:v>
                </c:pt>
                <c:pt idx="14">
                  <c:v>24.59</c:v>
                </c:pt>
                <c:pt idx="15">
                  <c:v>26.37</c:v>
                </c:pt>
                <c:pt idx="16">
                  <c:v>28.54</c:v>
                </c:pt>
                <c:pt idx="17">
                  <c:v>30.12</c:v>
                </c:pt>
                <c:pt idx="18">
                  <c:v>42.66</c:v>
                </c:pt>
                <c:pt idx="19">
                  <c:v>92.43</c:v>
                </c:pt>
                <c:pt idx="20">
                  <c:v>94.8</c:v>
                </c:pt>
                <c:pt idx="21">
                  <c:v>11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rPr lang="en-US"/>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rPr lang="en-US"/>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E$2:$E$23</c:f>
              <c:numCache>
                <c:formatCode>General</c:formatCode>
                <c:ptCount val="22"/>
                <c:pt idx="0">
                  <c:v>1.21</c:v>
                </c:pt>
                <c:pt idx="1">
                  <c:v>1.9649999999999999</c:v>
                </c:pt>
                <c:pt idx="2">
                  <c:v>3.96</c:v>
                </c:pt>
                <c:pt idx="3">
                  <c:v>3.9249999999999998</c:v>
                </c:pt>
                <c:pt idx="4">
                  <c:v>3.95</c:v>
                </c:pt>
                <c:pt idx="5">
                  <c:v>5.4749999999999996</c:v>
                </c:pt>
                <c:pt idx="6">
                  <c:v>6.21</c:v>
                </c:pt>
                <c:pt idx="7">
                  <c:v>8.58</c:v>
                </c:pt>
                <c:pt idx="8">
                  <c:v>10.4</c:v>
                </c:pt>
                <c:pt idx="9">
                  <c:v>15.32</c:v>
                </c:pt>
                <c:pt idx="10">
                  <c:v>13.675000000000001</c:v>
                </c:pt>
                <c:pt idx="11">
                  <c:v>15.414999999999999</c:v>
                </c:pt>
                <c:pt idx="12">
                  <c:v>30.115000000000002</c:v>
                </c:pt>
                <c:pt idx="13">
                  <c:v>31.49</c:v>
                </c:pt>
                <c:pt idx="14">
                  <c:v>29.575000000000003</c:v>
                </c:pt>
                <c:pt idx="15">
                  <c:v>24.365000000000002</c:v>
                </c:pt>
                <c:pt idx="16">
                  <c:v>32.064999999999998</c:v>
                </c:pt>
                <c:pt idx="17">
                  <c:v>26.535</c:v>
                </c:pt>
                <c:pt idx="18">
                  <c:v>44.08</c:v>
                </c:pt>
                <c:pt idx="19">
                  <c:v>97.07</c:v>
                </c:pt>
                <c:pt idx="20">
                  <c:v>95.585000000000008</c:v>
                </c:pt>
                <c:pt idx="21">
                  <c:v>131.2699999999999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scaling>
        <c:delete val="0"/>
        <c:axPos val="r"/>
        <c:numFmt formatCode="General"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B$2:$B$23</c:f>
              <c:numCache>
                <c:formatCode>General</c:formatCode>
                <c:ptCount val="22"/>
                <c:pt idx="0">
                  <c:v>13</c:v>
                </c:pt>
                <c:pt idx="1">
                  <c:v>1</c:v>
                </c:pt>
                <c:pt idx="2">
                  <c:v>5</c:v>
                </c:pt>
                <c:pt idx="3">
                  <c:v>14</c:v>
                </c:pt>
                <c:pt idx="4">
                  <c:v>123</c:v>
                </c:pt>
                <c:pt idx="5">
                  <c:v>0</c:v>
                </c:pt>
                <c:pt idx="6">
                  <c:v>0</c:v>
                </c:pt>
                <c:pt idx="7">
                  <c:v>0</c:v>
                </c:pt>
                <c:pt idx="8">
                  <c:v>13</c:v>
                </c:pt>
                <c:pt idx="9">
                  <c:v>0</c:v>
                </c:pt>
                <c:pt idx="10">
                  <c:v>0</c:v>
                </c:pt>
                <c:pt idx="11">
                  <c:v>0</c:v>
                </c:pt>
                <c:pt idx="12">
                  <c:v>0</c:v>
                </c:pt>
                <c:pt idx="13">
                  <c:v>0</c:v>
                </c:pt>
                <c:pt idx="14">
                  <c:v>0</c:v>
                </c:pt>
                <c:pt idx="15">
                  <c:v>1</c:v>
                </c:pt>
                <c:pt idx="16">
                  <c:v>0</c:v>
                </c:pt>
                <c:pt idx="17">
                  <c:v>8</c:v>
                </c:pt>
                <c:pt idx="18">
                  <c:v>0</c:v>
                </c:pt>
                <c:pt idx="19">
                  <c:v>0</c:v>
                </c:pt>
                <c:pt idx="20">
                  <c:v>6</c:v>
                </c:pt>
                <c:pt idx="21">
                  <c:v>0</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C$2:$C$23</c:f>
              <c:numCache>
                <c:formatCode>General</c:formatCode>
                <c:ptCount val="22"/>
                <c:pt idx="0">
                  <c:v>1.1399999999999999</c:v>
                </c:pt>
                <c:pt idx="1">
                  <c:v>2.15</c:v>
                </c:pt>
                <c:pt idx="2">
                  <c:v>4.46</c:v>
                </c:pt>
                <c:pt idx="3">
                  <c:v>4</c:v>
                </c:pt>
                <c:pt idx="4">
                  <c:v>3.95</c:v>
                </c:pt>
                <c:pt idx="5">
                  <c:v>6.9</c:v>
                </c:pt>
                <c:pt idx="6">
                  <c:v>7.58</c:v>
                </c:pt>
                <c:pt idx="7">
                  <c:v>8.27</c:v>
                </c:pt>
                <c:pt idx="8">
                  <c:v>10.92</c:v>
                </c:pt>
                <c:pt idx="9">
                  <c:v>18.79</c:v>
                </c:pt>
                <c:pt idx="10">
                  <c:v>15.11</c:v>
                </c:pt>
                <c:pt idx="11">
                  <c:v>16.61</c:v>
                </c:pt>
                <c:pt idx="12">
                  <c:v>39</c:v>
                </c:pt>
                <c:pt idx="13">
                  <c:v>38.69</c:v>
                </c:pt>
                <c:pt idx="14">
                  <c:v>34.56</c:v>
                </c:pt>
                <c:pt idx="15">
                  <c:v>22.36</c:v>
                </c:pt>
                <c:pt idx="16">
                  <c:v>35.590000000000003</c:v>
                </c:pt>
                <c:pt idx="17">
                  <c:v>22.95</c:v>
                </c:pt>
                <c:pt idx="18">
                  <c:v>45.5</c:v>
                </c:pt>
                <c:pt idx="19">
                  <c:v>101.71</c:v>
                </c:pt>
                <c:pt idx="20">
                  <c:v>96.37</c:v>
                </c:pt>
                <c:pt idx="21">
                  <c:v>144.0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D$2:$D$23</c:f>
              <c:numCache>
                <c:formatCode>General</c:formatCode>
                <c:ptCount val="22"/>
                <c:pt idx="0">
                  <c:v>1.28</c:v>
                </c:pt>
                <c:pt idx="1">
                  <c:v>1.78</c:v>
                </c:pt>
                <c:pt idx="2">
                  <c:v>3.46</c:v>
                </c:pt>
                <c:pt idx="3">
                  <c:v>3.85</c:v>
                </c:pt>
                <c:pt idx="4">
                  <c:v>3.95</c:v>
                </c:pt>
                <c:pt idx="5">
                  <c:v>4.05</c:v>
                </c:pt>
                <c:pt idx="6">
                  <c:v>4.84</c:v>
                </c:pt>
                <c:pt idx="7">
                  <c:v>8.89</c:v>
                </c:pt>
                <c:pt idx="8">
                  <c:v>9.8800000000000008</c:v>
                </c:pt>
                <c:pt idx="9">
                  <c:v>11.85</c:v>
                </c:pt>
                <c:pt idx="10">
                  <c:v>12.24</c:v>
                </c:pt>
                <c:pt idx="11">
                  <c:v>14.22</c:v>
                </c:pt>
                <c:pt idx="12">
                  <c:v>21.23</c:v>
                </c:pt>
                <c:pt idx="13">
                  <c:v>24.29</c:v>
                </c:pt>
                <c:pt idx="14">
                  <c:v>24.59</c:v>
                </c:pt>
                <c:pt idx="15">
                  <c:v>26.37</c:v>
                </c:pt>
                <c:pt idx="16">
                  <c:v>28.54</c:v>
                </c:pt>
                <c:pt idx="17">
                  <c:v>30.12</c:v>
                </c:pt>
                <c:pt idx="18">
                  <c:v>42.66</c:v>
                </c:pt>
                <c:pt idx="19">
                  <c:v>92.43</c:v>
                </c:pt>
                <c:pt idx="20">
                  <c:v>94.8</c:v>
                </c:pt>
                <c:pt idx="21">
                  <c:v>11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rPr lang="en-US"/>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rPr lang="en-US"/>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E$2:$E$23</c:f>
              <c:numCache>
                <c:formatCode>General</c:formatCode>
                <c:ptCount val="22"/>
                <c:pt idx="0">
                  <c:v>1.21</c:v>
                </c:pt>
                <c:pt idx="1">
                  <c:v>1.9649999999999999</c:v>
                </c:pt>
                <c:pt idx="2">
                  <c:v>3.96</c:v>
                </c:pt>
                <c:pt idx="3">
                  <c:v>3.9249999999999998</c:v>
                </c:pt>
                <c:pt idx="4">
                  <c:v>3.95</c:v>
                </c:pt>
                <c:pt idx="5">
                  <c:v>5.4749999999999996</c:v>
                </c:pt>
                <c:pt idx="6">
                  <c:v>6.21</c:v>
                </c:pt>
                <c:pt idx="7">
                  <c:v>8.58</c:v>
                </c:pt>
                <c:pt idx="8">
                  <c:v>10.4</c:v>
                </c:pt>
                <c:pt idx="9">
                  <c:v>15.32</c:v>
                </c:pt>
                <c:pt idx="10">
                  <c:v>13.675000000000001</c:v>
                </c:pt>
                <c:pt idx="11">
                  <c:v>15.414999999999999</c:v>
                </c:pt>
                <c:pt idx="12">
                  <c:v>30.115000000000002</c:v>
                </c:pt>
                <c:pt idx="13">
                  <c:v>31.49</c:v>
                </c:pt>
                <c:pt idx="14">
                  <c:v>29.575000000000003</c:v>
                </c:pt>
                <c:pt idx="15">
                  <c:v>24.365000000000002</c:v>
                </c:pt>
                <c:pt idx="16">
                  <c:v>32.064999999999998</c:v>
                </c:pt>
                <c:pt idx="17">
                  <c:v>26.535</c:v>
                </c:pt>
                <c:pt idx="18">
                  <c:v>44.08</c:v>
                </c:pt>
                <c:pt idx="19">
                  <c:v>97.07</c:v>
                </c:pt>
                <c:pt idx="20">
                  <c:v>95.585000000000008</c:v>
                </c:pt>
                <c:pt idx="21">
                  <c:v>131.2699999999999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scaling>
        <c:delete val="0"/>
        <c:axPos val="r"/>
        <c:numFmt formatCode="General"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B$2:$B$23</c:f>
              <c:numCache>
                <c:formatCode>General</c:formatCode>
                <c:ptCount val="22"/>
                <c:pt idx="0">
                  <c:v>13</c:v>
                </c:pt>
                <c:pt idx="1">
                  <c:v>1</c:v>
                </c:pt>
                <c:pt idx="2">
                  <c:v>5</c:v>
                </c:pt>
                <c:pt idx="3">
                  <c:v>14</c:v>
                </c:pt>
                <c:pt idx="4">
                  <c:v>123</c:v>
                </c:pt>
                <c:pt idx="5">
                  <c:v>0</c:v>
                </c:pt>
                <c:pt idx="6">
                  <c:v>0</c:v>
                </c:pt>
                <c:pt idx="7">
                  <c:v>0</c:v>
                </c:pt>
                <c:pt idx="8">
                  <c:v>13</c:v>
                </c:pt>
                <c:pt idx="9">
                  <c:v>0</c:v>
                </c:pt>
                <c:pt idx="10">
                  <c:v>0</c:v>
                </c:pt>
                <c:pt idx="11">
                  <c:v>0</c:v>
                </c:pt>
                <c:pt idx="12">
                  <c:v>0</c:v>
                </c:pt>
                <c:pt idx="13">
                  <c:v>0</c:v>
                </c:pt>
                <c:pt idx="14">
                  <c:v>0</c:v>
                </c:pt>
                <c:pt idx="15">
                  <c:v>1</c:v>
                </c:pt>
                <c:pt idx="16">
                  <c:v>0</c:v>
                </c:pt>
                <c:pt idx="17">
                  <c:v>8</c:v>
                </c:pt>
                <c:pt idx="18">
                  <c:v>0</c:v>
                </c:pt>
                <c:pt idx="19">
                  <c:v>0</c:v>
                </c:pt>
                <c:pt idx="20">
                  <c:v>6</c:v>
                </c:pt>
                <c:pt idx="21">
                  <c:v>0</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C$2:$C$23</c:f>
              <c:numCache>
                <c:formatCode>General</c:formatCode>
                <c:ptCount val="22"/>
                <c:pt idx="0">
                  <c:v>1.1399999999999999</c:v>
                </c:pt>
                <c:pt idx="1">
                  <c:v>2.15</c:v>
                </c:pt>
                <c:pt idx="2">
                  <c:v>4.46</c:v>
                </c:pt>
                <c:pt idx="3">
                  <c:v>4</c:v>
                </c:pt>
                <c:pt idx="4">
                  <c:v>3.95</c:v>
                </c:pt>
                <c:pt idx="5">
                  <c:v>6.9</c:v>
                </c:pt>
                <c:pt idx="6">
                  <c:v>7.58</c:v>
                </c:pt>
                <c:pt idx="7">
                  <c:v>8.27</c:v>
                </c:pt>
                <c:pt idx="8">
                  <c:v>10.92</c:v>
                </c:pt>
                <c:pt idx="9">
                  <c:v>18.79</c:v>
                </c:pt>
                <c:pt idx="10">
                  <c:v>15.11</c:v>
                </c:pt>
                <c:pt idx="11">
                  <c:v>16.61</c:v>
                </c:pt>
                <c:pt idx="12">
                  <c:v>39</c:v>
                </c:pt>
                <c:pt idx="13">
                  <c:v>38.69</c:v>
                </c:pt>
                <c:pt idx="14">
                  <c:v>34.56</c:v>
                </c:pt>
                <c:pt idx="15">
                  <c:v>22.36</c:v>
                </c:pt>
                <c:pt idx="16">
                  <c:v>35.590000000000003</c:v>
                </c:pt>
                <c:pt idx="17">
                  <c:v>22.95</c:v>
                </c:pt>
                <c:pt idx="18">
                  <c:v>45.5</c:v>
                </c:pt>
                <c:pt idx="19">
                  <c:v>101.71</c:v>
                </c:pt>
                <c:pt idx="20">
                  <c:v>96.37</c:v>
                </c:pt>
                <c:pt idx="21">
                  <c:v>144.0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D$2:$D$23</c:f>
              <c:numCache>
                <c:formatCode>General</c:formatCode>
                <c:ptCount val="22"/>
                <c:pt idx="0">
                  <c:v>1.28</c:v>
                </c:pt>
                <c:pt idx="1">
                  <c:v>1.78</c:v>
                </c:pt>
                <c:pt idx="2">
                  <c:v>3.46</c:v>
                </c:pt>
                <c:pt idx="3">
                  <c:v>3.85</c:v>
                </c:pt>
                <c:pt idx="4">
                  <c:v>3.95</c:v>
                </c:pt>
                <c:pt idx="5">
                  <c:v>4.05</c:v>
                </c:pt>
                <c:pt idx="6">
                  <c:v>4.84</c:v>
                </c:pt>
                <c:pt idx="7">
                  <c:v>8.89</c:v>
                </c:pt>
                <c:pt idx="8">
                  <c:v>9.8800000000000008</c:v>
                </c:pt>
                <c:pt idx="9">
                  <c:v>11.85</c:v>
                </c:pt>
                <c:pt idx="10">
                  <c:v>12.24</c:v>
                </c:pt>
                <c:pt idx="11">
                  <c:v>14.22</c:v>
                </c:pt>
                <c:pt idx="12">
                  <c:v>21.23</c:v>
                </c:pt>
                <c:pt idx="13">
                  <c:v>24.29</c:v>
                </c:pt>
                <c:pt idx="14">
                  <c:v>24.59</c:v>
                </c:pt>
                <c:pt idx="15">
                  <c:v>26.37</c:v>
                </c:pt>
                <c:pt idx="16">
                  <c:v>28.54</c:v>
                </c:pt>
                <c:pt idx="17">
                  <c:v>30.12</c:v>
                </c:pt>
                <c:pt idx="18">
                  <c:v>42.66</c:v>
                </c:pt>
                <c:pt idx="19">
                  <c:v>92.43</c:v>
                </c:pt>
                <c:pt idx="20">
                  <c:v>94.8</c:v>
                </c:pt>
                <c:pt idx="21">
                  <c:v>11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rPr lang="en-US"/>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rPr lang="en-US"/>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E$2:$E$23</c:f>
              <c:numCache>
                <c:formatCode>General</c:formatCode>
                <c:ptCount val="22"/>
                <c:pt idx="0">
                  <c:v>1.21</c:v>
                </c:pt>
                <c:pt idx="1">
                  <c:v>1.9649999999999999</c:v>
                </c:pt>
                <c:pt idx="2">
                  <c:v>3.96</c:v>
                </c:pt>
                <c:pt idx="3">
                  <c:v>3.9249999999999998</c:v>
                </c:pt>
                <c:pt idx="4">
                  <c:v>3.95</c:v>
                </c:pt>
                <c:pt idx="5">
                  <c:v>5.4749999999999996</c:v>
                </c:pt>
                <c:pt idx="6">
                  <c:v>6.21</c:v>
                </c:pt>
                <c:pt idx="7">
                  <c:v>8.58</c:v>
                </c:pt>
                <c:pt idx="8">
                  <c:v>10.4</c:v>
                </c:pt>
                <c:pt idx="9">
                  <c:v>15.32</c:v>
                </c:pt>
                <c:pt idx="10">
                  <c:v>13.675000000000001</c:v>
                </c:pt>
                <c:pt idx="11">
                  <c:v>15.414999999999999</c:v>
                </c:pt>
                <c:pt idx="12">
                  <c:v>30.115000000000002</c:v>
                </c:pt>
                <c:pt idx="13">
                  <c:v>31.49</c:v>
                </c:pt>
                <c:pt idx="14">
                  <c:v>29.575000000000003</c:v>
                </c:pt>
                <c:pt idx="15">
                  <c:v>24.365000000000002</c:v>
                </c:pt>
                <c:pt idx="16">
                  <c:v>32.064999999999998</c:v>
                </c:pt>
                <c:pt idx="17">
                  <c:v>26.535</c:v>
                </c:pt>
                <c:pt idx="18">
                  <c:v>44.08</c:v>
                </c:pt>
                <c:pt idx="19">
                  <c:v>97.07</c:v>
                </c:pt>
                <c:pt idx="20">
                  <c:v>95.585000000000008</c:v>
                </c:pt>
                <c:pt idx="21">
                  <c:v>131.2699999999999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scaling>
        <c:delete val="0"/>
        <c:axPos val="r"/>
        <c:numFmt formatCode="General"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B$2:$B$23</c:f>
              <c:numCache>
                <c:formatCode>General</c:formatCode>
                <c:ptCount val="22"/>
                <c:pt idx="0">
                  <c:v>13</c:v>
                </c:pt>
                <c:pt idx="1">
                  <c:v>1</c:v>
                </c:pt>
                <c:pt idx="2">
                  <c:v>5</c:v>
                </c:pt>
                <c:pt idx="3">
                  <c:v>14</c:v>
                </c:pt>
                <c:pt idx="4">
                  <c:v>123</c:v>
                </c:pt>
                <c:pt idx="5">
                  <c:v>0</c:v>
                </c:pt>
                <c:pt idx="6">
                  <c:v>0</c:v>
                </c:pt>
                <c:pt idx="7">
                  <c:v>0</c:v>
                </c:pt>
                <c:pt idx="8">
                  <c:v>13</c:v>
                </c:pt>
                <c:pt idx="9">
                  <c:v>0</c:v>
                </c:pt>
                <c:pt idx="10">
                  <c:v>0</c:v>
                </c:pt>
                <c:pt idx="11">
                  <c:v>0</c:v>
                </c:pt>
                <c:pt idx="12">
                  <c:v>0</c:v>
                </c:pt>
                <c:pt idx="13">
                  <c:v>0</c:v>
                </c:pt>
                <c:pt idx="14">
                  <c:v>0</c:v>
                </c:pt>
                <c:pt idx="15">
                  <c:v>1</c:v>
                </c:pt>
                <c:pt idx="16">
                  <c:v>0</c:v>
                </c:pt>
                <c:pt idx="17">
                  <c:v>8</c:v>
                </c:pt>
                <c:pt idx="18">
                  <c:v>0</c:v>
                </c:pt>
                <c:pt idx="19">
                  <c:v>0</c:v>
                </c:pt>
                <c:pt idx="20">
                  <c:v>6</c:v>
                </c:pt>
                <c:pt idx="21">
                  <c:v>0</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C$2:$C$23</c:f>
              <c:numCache>
                <c:formatCode>General</c:formatCode>
                <c:ptCount val="22"/>
                <c:pt idx="0">
                  <c:v>1.1399999999999999</c:v>
                </c:pt>
                <c:pt idx="1">
                  <c:v>2.15</c:v>
                </c:pt>
                <c:pt idx="2">
                  <c:v>4.46</c:v>
                </c:pt>
                <c:pt idx="3">
                  <c:v>4</c:v>
                </c:pt>
                <c:pt idx="4">
                  <c:v>3.95</c:v>
                </c:pt>
                <c:pt idx="5">
                  <c:v>6.9</c:v>
                </c:pt>
                <c:pt idx="6">
                  <c:v>7.58</c:v>
                </c:pt>
                <c:pt idx="7">
                  <c:v>8.27</c:v>
                </c:pt>
                <c:pt idx="8">
                  <c:v>10.92</c:v>
                </c:pt>
                <c:pt idx="9">
                  <c:v>18.79</c:v>
                </c:pt>
                <c:pt idx="10">
                  <c:v>15.11</c:v>
                </c:pt>
                <c:pt idx="11">
                  <c:v>16.61</c:v>
                </c:pt>
                <c:pt idx="12">
                  <c:v>39</c:v>
                </c:pt>
                <c:pt idx="13">
                  <c:v>38.69</c:v>
                </c:pt>
                <c:pt idx="14">
                  <c:v>34.56</c:v>
                </c:pt>
                <c:pt idx="15">
                  <c:v>22.36</c:v>
                </c:pt>
                <c:pt idx="16">
                  <c:v>35.590000000000003</c:v>
                </c:pt>
                <c:pt idx="17">
                  <c:v>22.95</c:v>
                </c:pt>
                <c:pt idx="18">
                  <c:v>45.5</c:v>
                </c:pt>
                <c:pt idx="19">
                  <c:v>101.71</c:v>
                </c:pt>
                <c:pt idx="20">
                  <c:v>96.37</c:v>
                </c:pt>
                <c:pt idx="21">
                  <c:v>144.0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D$2:$D$23</c:f>
              <c:numCache>
                <c:formatCode>General</c:formatCode>
                <c:ptCount val="22"/>
                <c:pt idx="0">
                  <c:v>1.28</c:v>
                </c:pt>
                <c:pt idx="1">
                  <c:v>1.78</c:v>
                </c:pt>
                <c:pt idx="2">
                  <c:v>3.46</c:v>
                </c:pt>
                <c:pt idx="3">
                  <c:v>3.85</c:v>
                </c:pt>
                <c:pt idx="4">
                  <c:v>3.95</c:v>
                </c:pt>
                <c:pt idx="5">
                  <c:v>4.05</c:v>
                </c:pt>
                <c:pt idx="6">
                  <c:v>4.84</c:v>
                </c:pt>
                <c:pt idx="7">
                  <c:v>8.89</c:v>
                </c:pt>
                <c:pt idx="8">
                  <c:v>9.8800000000000008</c:v>
                </c:pt>
                <c:pt idx="9">
                  <c:v>11.85</c:v>
                </c:pt>
                <c:pt idx="10">
                  <c:v>12.24</c:v>
                </c:pt>
                <c:pt idx="11">
                  <c:v>14.22</c:v>
                </c:pt>
                <c:pt idx="12">
                  <c:v>21.23</c:v>
                </c:pt>
                <c:pt idx="13">
                  <c:v>24.29</c:v>
                </c:pt>
                <c:pt idx="14">
                  <c:v>24.59</c:v>
                </c:pt>
                <c:pt idx="15">
                  <c:v>26.37</c:v>
                </c:pt>
                <c:pt idx="16">
                  <c:v>28.54</c:v>
                </c:pt>
                <c:pt idx="17">
                  <c:v>30.12</c:v>
                </c:pt>
                <c:pt idx="18">
                  <c:v>42.66</c:v>
                </c:pt>
                <c:pt idx="19">
                  <c:v>92.43</c:v>
                </c:pt>
                <c:pt idx="20">
                  <c:v>94.8</c:v>
                </c:pt>
                <c:pt idx="21">
                  <c:v>11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rPr lang="en-US"/>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rPr lang="en-US"/>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E$2:$E$23</c:f>
              <c:numCache>
                <c:formatCode>General</c:formatCode>
                <c:ptCount val="22"/>
                <c:pt idx="0">
                  <c:v>1.21</c:v>
                </c:pt>
                <c:pt idx="1">
                  <c:v>1.9649999999999999</c:v>
                </c:pt>
                <c:pt idx="2">
                  <c:v>3.96</c:v>
                </c:pt>
                <c:pt idx="3">
                  <c:v>3.9249999999999998</c:v>
                </c:pt>
                <c:pt idx="4">
                  <c:v>3.95</c:v>
                </c:pt>
                <c:pt idx="5">
                  <c:v>5.4749999999999996</c:v>
                </c:pt>
                <c:pt idx="6">
                  <c:v>6.21</c:v>
                </c:pt>
                <c:pt idx="7">
                  <c:v>8.58</c:v>
                </c:pt>
                <c:pt idx="8">
                  <c:v>10.4</c:v>
                </c:pt>
                <c:pt idx="9">
                  <c:v>15.32</c:v>
                </c:pt>
                <c:pt idx="10">
                  <c:v>13.675000000000001</c:v>
                </c:pt>
                <c:pt idx="11">
                  <c:v>15.414999999999999</c:v>
                </c:pt>
                <c:pt idx="12">
                  <c:v>30.115000000000002</c:v>
                </c:pt>
                <c:pt idx="13">
                  <c:v>31.49</c:v>
                </c:pt>
                <c:pt idx="14">
                  <c:v>29.575000000000003</c:v>
                </c:pt>
                <c:pt idx="15">
                  <c:v>24.365000000000002</c:v>
                </c:pt>
                <c:pt idx="16">
                  <c:v>32.064999999999998</c:v>
                </c:pt>
                <c:pt idx="17">
                  <c:v>26.535</c:v>
                </c:pt>
                <c:pt idx="18">
                  <c:v>44.08</c:v>
                </c:pt>
                <c:pt idx="19">
                  <c:v>97.07</c:v>
                </c:pt>
                <c:pt idx="20">
                  <c:v>95.585000000000008</c:v>
                </c:pt>
                <c:pt idx="21">
                  <c:v>131.2699999999999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scaling>
        <c:delete val="0"/>
        <c:axPos val="r"/>
        <c:numFmt formatCode="General"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B$2:$B$23</c:f>
              <c:numCache>
                <c:formatCode>General</c:formatCode>
                <c:ptCount val="22"/>
                <c:pt idx="0">
                  <c:v>13</c:v>
                </c:pt>
                <c:pt idx="1">
                  <c:v>1</c:v>
                </c:pt>
                <c:pt idx="2">
                  <c:v>5</c:v>
                </c:pt>
                <c:pt idx="3">
                  <c:v>14</c:v>
                </c:pt>
                <c:pt idx="4">
                  <c:v>123</c:v>
                </c:pt>
                <c:pt idx="5">
                  <c:v>0</c:v>
                </c:pt>
                <c:pt idx="6">
                  <c:v>0</c:v>
                </c:pt>
                <c:pt idx="7">
                  <c:v>0</c:v>
                </c:pt>
                <c:pt idx="8">
                  <c:v>13</c:v>
                </c:pt>
                <c:pt idx="9">
                  <c:v>0</c:v>
                </c:pt>
                <c:pt idx="10">
                  <c:v>0</c:v>
                </c:pt>
                <c:pt idx="11">
                  <c:v>0</c:v>
                </c:pt>
                <c:pt idx="12">
                  <c:v>0</c:v>
                </c:pt>
                <c:pt idx="13">
                  <c:v>0</c:v>
                </c:pt>
                <c:pt idx="14">
                  <c:v>0</c:v>
                </c:pt>
                <c:pt idx="15">
                  <c:v>1</c:v>
                </c:pt>
                <c:pt idx="16">
                  <c:v>0</c:v>
                </c:pt>
                <c:pt idx="17">
                  <c:v>8</c:v>
                </c:pt>
                <c:pt idx="18">
                  <c:v>0</c:v>
                </c:pt>
                <c:pt idx="19">
                  <c:v>0</c:v>
                </c:pt>
                <c:pt idx="20">
                  <c:v>6</c:v>
                </c:pt>
                <c:pt idx="21">
                  <c:v>0</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C$2:$C$23</c:f>
              <c:numCache>
                <c:formatCode>General</c:formatCode>
                <c:ptCount val="22"/>
                <c:pt idx="0">
                  <c:v>1.1399999999999999</c:v>
                </c:pt>
                <c:pt idx="1">
                  <c:v>2.15</c:v>
                </c:pt>
                <c:pt idx="2">
                  <c:v>4.46</c:v>
                </c:pt>
                <c:pt idx="3">
                  <c:v>4</c:v>
                </c:pt>
                <c:pt idx="4">
                  <c:v>3.95</c:v>
                </c:pt>
                <c:pt idx="5">
                  <c:v>6.9</c:v>
                </c:pt>
                <c:pt idx="6">
                  <c:v>7.58</c:v>
                </c:pt>
                <c:pt idx="7">
                  <c:v>8.27</c:v>
                </c:pt>
                <c:pt idx="8">
                  <c:v>10.92</c:v>
                </c:pt>
                <c:pt idx="9">
                  <c:v>18.79</c:v>
                </c:pt>
                <c:pt idx="10">
                  <c:v>15.11</c:v>
                </c:pt>
                <c:pt idx="11">
                  <c:v>16.61</c:v>
                </c:pt>
                <c:pt idx="12">
                  <c:v>39</c:v>
                </c:pt>
                <c:pt idx="13">
                  <c:v>38.69</c:v>
                </c:pt>
                <c:pt idx="14">
                  <c:v>34.56</c:v>
                </c:pt>
                <c:pt idx="15">
                  <c:v>22.36</c:v>
                </c:pt>
                <c:pt idx="16">
                  <c:v>35.590000000000003</c:v>
                </c:pt>
                <c:pt idx="17">
                  <c:v>22.95</c:v>
                </c:pt>
                <c:pt idx="18">
                  <c:v>45.5</c:v>
                </c:pt>
                <c:pt idx="19">
                  <c:v>101.71</c:v>
                </c:pt>
                <c:pt idx="20">
                  <c:v>96.37</c:v>
                </c:pt>
                <c:pt idx="21">
                  <c:v>144.0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D$2:$D$23</c:f>
              <c:numCache>
                <c:formatCode>General</c:formatCode>
                <c:ptCount val="22"/>
                <c:pt idx="0">
                  <c:v>1.28</c:v>
                </c:pt>
                <c:pt idx="1">
                  <c:v>1.78</c:v>
                </c:pt>
                <c:pt idx="2">
                  <c:v>3.46</c:v>
                </c:pt>
                <c:pt idx="3">
                  <c:v>3.85</c:v>
                </c:pt>
                <c:pt idx="4">
                  <c:v>3.95</c:v>
                </c:pt>
                <c:pt idx="5">
                  <c:v>4.05</c:v>
                </c:pt>
                <c:pt idx="6">
                  <c:v>4.84</c:v>
                </c:pt>
                <c:pt idx="7">
                  <c:v>8.89</c:v>
                </c:pt>
                <c:pt idx="8">
                  <c:v>9.8800000000000008</c:v>
                </c:pt>
                <c:pt idx="9">
                  <c:v>11.85</c:v>
                </c:pt>
                <c:pt idx="10">
                  <c:v>12.24</c:v>
                </c:pt>
                <c:pt idx="11">
                  <c:v>14.22</c:v>
                </c:pt>
                <c:pt idx="12">
                  <c:v>21.23</c:v>
                </c:pt>
                <c:pt idx="13">
                  <c:v>24.29</c:v>
                </c:pt>
                <c:pt idx="14">
                  <c:v>24.59</c:v>
                </c:pt>
                <c:pt idx="15">
                  <c:v>26.37</c:v>
                </c:pt>
                <c:pt idx="16">
                  <c:v>28.54</c:v>
                </c:pt>
                <c:pt idx="17">
                  <c:v>30.12</c:v>
                </c:pt>
                <c:pt idx="18">
                  <c:v>42.66</c:v>
                </c:pt>
                <c:pt idx="19">
                  <c:v>92.43</c:v>
                </c:pt>
                <c:pt idx="20">
                  <c:v>94.8</c:v>
                </c:pt>
                <c:pt idx="21">
                  <c:v>11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rPr lang="en-US"/>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rPr lang="en-US"/>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E$2:$E$23</c:f>
              <c:numCache>
                <c:formatCode>General</c:formatCode>
                <c:ptCount val="22"/>
                <c:pt idx="0">
                  <c:v>1.21</c:v>
                </c:pt>
                <c:pt idx="1">
                  <c:v>1.9649999999999999</c:v>
                </c:pt>
                <c:pt idx="2">
                  <c:v>3.96</c:v>
                </c:pt>
                <c:pt idx="3">
                  <c:v>3.9249999999999998</c:v>
                </c:pt>
                <c:pt idx="4">
                  <c:v>3.95</c:v>
                </c:pt>
                <c:pt idx="5">
                  <c:v>5.4749999999999996</c:v>
                </c:pt>
                <c:pt idx="6">
                  <c:v>6.21</c:v>
                </c:pt>
                <c:pt idx="7">
                  <c:v>8.58</c:v>
                </c:pt>
                <c:pt idx="8">
                  <c:v>10.4</c:v>
                </c:pt>
                <c:pt idx="9">
                  <c:v>15.32</c:v>
                </c:pt>
                <c:pt idx="10">
                  <c:v>13.675000000000001</c:v>
                </c:pt>
                <c:pt idx="11">
                  <c:v>15.414999999999999</c:v>
                </c:pt>
                <c:pt idx="12">
                  <c:v>30.115000000000002</c:v>
                </c:pt>
                <c:pt idx="13">
                  <c:v>31.49</c:v>
                </c:pt>
                <c:pt idx="14">
                  <c:v>29.575000000000003</c:v>
                </c:pt>
                <c:pt idx="15">
                  <c:v>24.365000000000002</c:v>
                </c:pt>
                <c:pt idx="16">
                  <c:v>32.064999999999998</c:v>
                </c:pt>
                <c:pt idx="17">
                  <c:v>26.535</c:v>
                </c:pt>
                <c:pt idx="18">
                  <c:v>44.08</c:v>
                </c:pt>
                <c:pt idx="19">
                  <c:v>97.07</c:v>
                </c:pt>
                <c:pt idx="20">
                  <c:v>95.585000000000008</c:v>
                </c:pt>
                <c:pt idx="21">
                  <c:v>131.2699999999999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scaling>
        <c:delete val="0"/>
        <c:axPos val="r"/>
        <c:numFmt formatCode="General"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B$2:$B$23</c:f>
              <c:numCache>
                <c:formatCode>General</c:formatCode>
                <c:ptCount val="22"/>
                <c:pt idx="0">
                  <c:v>13</c:v>
                </c:pt>
                <c:pt idx="1">
                  <c:v>1</c:v>
                </c:pt>
                <c:pt idx="2">
                  <c:v>5</c:v>
                </c:pt>
                <c:pt idx="3">
                  <c:v>14</c:v>
                </c:pt>
                <c:pt idx="4">
                  <c:v>123</c:v>
                </c:pt>
                <c:pt idx="5">
                  <c:v>0</c:v>
                </c:pt>
                <c:pt idx="6">
                  <c:v>0</c:v>
                </c:pt>
                <c:pt idx="7">
                  <c:v>0</c:v>
                </c:pt>
                <c:pt idx="8">
                  <c:v>13</c:v>
                </c:pt>
                <c:pt idx="9">
                  <c:v>0</c:v>
                </c:pt>
                <c:pt idx="10">
                  <c:v>0</c:v>
                </c:pt>
                <c:pt idx="11">
                  <c:v>0</c:v>
                </c:pt>
                <c:pt idx="12">
                  <c:v>0</c:v>
                </c:pt>
                <c:pt idx="13">
                  <c:v>0</c:v>
                </c:pt>
                <c:pt idx="14">
                  <c:v>0</c:v>
                </c:pt>
                <c:pt idx="15">
                  <c:v>1</c:v>
                </c:pt>
                <c:pt idx="16">
                  <c:v>0</c:v>
                </c:pt>
                <c:pt idx="17">
                  <c:v>8</c:v>
                </c:pt>
                <c:pt idx="18">
                  <c:v>0</c:v>
                </c:pt>
                <c:pt idx="19">
                  <c:v>0</c:v>
                </c:pt>
                <c:pt idx="20">
                  <c:v>6</c:v>
                </c:pt>
                <c:pt idx="21">
                  <c:v>0</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C$2:$C$23</c:f>
              <c:numCache>
                <c:formatCode>General</c:formatCode>
                <c:ptCount val="22"/>
                <c:pt idx="0">
                  <c:v>1.1399999999999999</c:v>
                </c:pt>
                <c:pt idx="1">
                  <c:v>2.15</c:v>
                </c:pt>
                <c:pt idx="2">
                  <c:v>4.46</c:v>
                </c:pt>
                <c:pt idx="3">
                  <c:v>4</c:v>
                </c:pt>
                <c:pt idx="4">
                  <c:v>3.95</c:v>
                </c:pt>
                <c:pt idx="5">
                  <c:v>6.9</c:v>
                </c:pt>
                <c:pt idx="6">
                  <c:v>7.58</c:v>
                </c:pt>
                <c:pt idx="7">
                  <c:v>8.27</c:v>
                </c:pt>
                <c:pt idx="8">
                  <c:v>10.92</c:v>
                </c:pt>
                <c:pt idx="9">
                  <c:v>18.79</c:v>
                </c:pt>
                <c:pt idx="10">
                  <c:v>15.11</c:v>
                </c:pt>
                <c:pt idx="11">
                  <c:v>16.61</c:v>
                </c:pt>
                <c:pt idx="12">
                  <c:v>39</c:v>
                </c:pt>
                <c:pt idx="13">
                  <c:v>38.69</c:v>
                </c:pt>
                <c:pt idx="14">
                  <c:v>34.56</c:v>
                </c:pt>
                <c:pt idx="15">
                  <c:v>22.36</c:v>
                </c:pt>
                <c:pt idx="16">
                  <c:v>35.590000000000003</c:v>
                </c:pt>
                <c:pt idx="17">
                  <c:v>22.95</c:v>
                </c:pt>
                <c:pt idx="18">
                  <c:v>45.5</c:v>
                </c:pt>
                <c:pt idx="19">
                  <c:v>101.71</c:v>
                </c:pt>
                <c:pt idx="20">
                  <c:v>96.37</c:v>
                </c:pt>
                <c:pt idx="21">
                  <c:v>144.0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D$2:$D$23</c:f>
              <c:numCache>
                <c:formatCode>General</c:formatCode>
                <c:ptCount val="22"/>
                <c:pt idx="0">
                  <c:v>1.28</c:v>
                </c:pt>
                <c:pt idx="1">
                  <c:v>1.78</c:v>
                </c:pt>
                <c:pt idx="2">
                  <c:v>3.46</c:v>
                </c:pt>
                <c:pt idx="3">
                  <c:v>3.85</c:v>
                </c:pt>
                <c:pt idx="4">
                  <c:v>3.95</c:v>
                </c:pt>
                <c:pt idx="5">
                  <c:v>4.05</c:v>
                </c:pt>
                <c:pt idx="6">
                  <c:v>4.84</c:v>
                </c:pt>
                <c:pt idx="7">
                  <c:v>8.89</c:v>
                </c:pt>
                <c:pt idx="8">
                  <c:v>9.8800000000000008</c:v>
                </c:pt>
                <c:pt idx="9">
                  <c:v>11.85</c:v>
                </c:pt>
                <c:pt idx="10">
                  <c:v>12.24</c:v>
                </c:pt>
                <c:pt idx="11">
                  <c:v>14.22</c:v>
                </c:pt>
                <c:pt idx="12">
                  <c:v>21.23</c:v>
                </c:pt>
                <c:pt idx="13">
                  <c:v>24.29</c:v>
                </c:pt>
                <c:pt idx="14">
                  <c:v>24.59</c:v>
                </c:pt>
                <c:pt idx="15">
                  <c:v>26.37</c:v>
                </c:pt>
                <c:pt idx="16">
                  <c:v>28.54</c:v>
                </c:pt>
                <c:pt idx="17">
                  <c:v>30.12</c:v>
                </c:pt>
                <c:pt idx="18">
                  <c:v>42.66</c:v>
                </c:pt>
                <c:pt idx="19">
                  <c:v>92.43</c:v>
                </c:pt>
                <c:pt idx="20">
                  <c:v>94.8</c:v>
                </c:pt>
                <c:pt idx="21">
                  <c:v>11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rPr lang="en-US"/>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rPr lang="en-US"/>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E$2:$E$23</c:f>
              <c:numCache>
                <c:formatCode>General</c:formatCode>
                <c:ptCount val="22"/>
                <c:pt idx="0">
                  <c:v>1.21</c:v>
                </c:pt>
                <c:pt idx="1">
                  <c:v>1.9649999999999999</c:v>
                </c:pt>
                <c:pt idx="2">
                  <c:v>3.96</c:v>
                </c:pt>
                <c:pt idx="3">
                  <c:v>3.9249999999999998</c:v>
                </c:pt>
                <c:pt idx="4">
                  <c:v>3.95</c:v>
                </c:pt>
                <c:pt idx="5">
                  <c:v>5.4749999999999996</c:v>
                </c:pt>
                <c:pt idx="6">
                  <c:v>6.21</c:v>
                </c:pt>
                <c:pt idx="7">
                  <c:v>8.58</c:v>
                </c:pt>
                <c:pt idx="8">
                  <c:v>10.4</c:v>
                </c:pt>
                <c:pt idx="9">
                  <c:v>15.32</c:v>
                </c:pt>
                <c:pt idx="10">
                  <c:v>13.675000000000001</c:v>
                </c:pt>
                <c:pt idx="11">
                  <c:v>15.414999999999999</c:v>
                </c:pt>
                <c:pt idx="12">
                  <c:v>30.115000000000002</c:v>
                </c:pt>
                <c:pt idx="13">
                  <c:v>31.49</c:v>
                </c:pt>
                <c:pt idx="14">
                  <c:v>29.575000000000003</c:v>
                </c:pt>
                <c:pt idx="15">
                  <c:v>24.365000000000002</c:v>
                </c:pt>
                <c:pt idx="16">
                  <c:v>32.064999999999998</c:v>
                </c:pt>
                <c:pt idx="17">
                  <c:v>26.535</c:v>
                </c:pt>
                <c:pt idx="18">
                  <c:v>44.08</c:v>
                </c:pt>
                <c:pt idx="19">
                  <c:v>97.07</c:v>
                </c:pt>
                <c:pt idx="20">
                  <c:v>95.585000000000008</c:v>
                </c:pt>
                <c:pt idx="21">
                  <c:v>131.2699999999999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scaling>
        <c:delete val="0"/>
        <c:axPos val="r"/>
        <c:numFmt formatCode="General"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B$2:$B$23</c:f>
              <c:numCache>
                <c:formatCode>General</c:formatCode>
                <c:ptCount val="22"/>
                <c:pt idx="0">
                  <c:v>13</c:v>
                </c:pt>
                <c:pt idx="1">
                  <c:v>1</c:v>
                </c:pt>
                <c:pt idx="2">
                  <c:v>5</c:v>
                </c:pt>
                <c:pt idx="3">
                  <c:v>14</c:v>
                </c:pt>
                <c:pt idx="4">
                  <c:v>123</c:v>
                </c:pt>
                <c:pt idx="5">
                  <c:v>0</c:v>
                </c:pt>
                <c:pt idx="6">
                  <c:v>0</c:v>
                </c:pt>
                <c:pt idx="7">
                  <c:v>0</c:v>
                </c:pt>
                <c:pt idx="8">
                  <c:v>13</c:v>
                </c:pt>
                <c:pt idx="9">
                  <c:v>0</c:v>
                </c:pt>
                <c:pt idx="10">
                  <c:v>0</c:v>
                </c:pt>
                <c:pt idx="11">
                  <c:v>0</c:v>
                </c:pt>
                <c:pt idx="12">
                  <c:v>0</c:v>
                </c:pt>
                <c:pt idx="13">
                  <c:v>0</c:v>
                </c:pt>
                <c:pt idx="14">
                  <c:v>0</c:v>
                </c:pt>
                <c:pt idx="15">
                  <c:v>1</c:v>
                </c:pt>
                <c:pt idx="16">
                  <c:v>0</c:v>
                </c:pt>
                <c:pt idx="17">
                  <c:v>8</c:v>
                </c:pt>
                <c:pt idx="18">
                  <c:v>0</c:v>
                </c:pt>
                <c:pt idx="19">
                  <c:v>0</c:v>
                </c:pt>
                <c:pt idx="20">
                  <c:v>6</c:v>
                </c:pt>
                <c:pt idx="21">
                  <c:v>0</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C$2:$C$23</c:f>
              <c:numCache>
                <c:formatCode>General</c:formatCode>
                <c:ptCount val="22"/>
                <c:pt idx="0">
                  <c:v>1.1399999999999999</c:v>
                </c:pt>
                <c:pt idx="1">
                  <c:v>2.15</c:v>
                </c:pt>
                <c:pt idx="2">
                  <c:v>4.46</c:v>
                </c:pt>
                <c:pt idx="3">
                  <c:v>4</c:v>
                </c:pt>
                <c:pt idx="4">
                  <c:v>3.95</c:v>
                </c:pt>
                <c:pt idx="5">
                  <c:v>6.9</c:v>
                </c:pt>
                <c:pt idx="6">
                  <c:v>7.58</c:v>
                </c:pt>
                <c:pt idx="7">
                  <c:v>8.27</c:v>
                </c:pt>
                <c:pt idx="8">
                  <c:v>10.92</c:v>
                </c:pt>
                <c:pt idx="9">
                  <c:v>18.79</c:v>
                </c:pt>
                <c:pt idx="10">
                  <c:v>15.11</c:v>
                </c:pt>
                <c:pt idx="11">
                  <c:v>16.61</c:v>
                </c:pt>
                <c:pt idx="12">
                  <c:v>39</c:v>
                </c:pt>
                <c:pt idx="13">
                  <c:v>38.69</c:v>
                </c:pt>
                <c:pt idx="14">
                  <c:v>34.56</c:v>
                </c:pt>
                <c:pt idx="15">
                  <c:v>22.36</c:v>
                </c:pt>
                <c:pt idx="16">
                  <c:v>35.590000000000003</c:v>
                </c:pt>
                <c:pt idx="17">
                  <c:v>22.95</c:v>
                </c:pt>
                <c:pt idx="18">
                  <c:v>45.5</c:v>
                </c:pt>
                <c:pt idx="19">
                  <c:v>101.71</c:v>
                </c:pt>
                <c:pt idx="20">
                  <c:v>96.37</c:v>
                </c:pt>
                <c:pt idx="21">
                  <c:v>144.0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D$2:$D$23</c:f>
              <c:numCache>
                <c:formatCode>General</c:formatCode>
                <c:ptCount val="22"/>
                <c:pt idx="0">
                  <c:v>1.28</c:v>
                </c:pt>
                <c:pt idx="1">
                  <c:v>1.78</c:v>
                </c:pt>
                <c:pt idx="2">
                  <c:v>3.46</c:v>
                </c:pt>
                <c:pt idx="3">
                  <c:v>3.85</c:v>
                </c:pt>
                <c:pt idx="4">
                  <c:v>3.95</c:v>
                </c:pt>
                <c:pt idx="5">
                  <c:v>4.05</c:v>
                </c:pt>
                <c:pt idx="6">
                  <c:v>4.84</c:v>
                </c:pt>
                <c:pt idx="7">
                  <c:v>8.89</c:v>
                </c:pt>
                <c:pt idx="8">
                  <c:v>9.8800000000000008</c:v>
                </c:pt>
                <c:pt idx="9">
                  <c:v>11.85</c:v>
                </c:pt>
                <c:pt idx="10">
                  <c:v>12.24</c:v>
                </c:pt>
                <c:pt idx="11">
                  <c:v>14.22</c:v>
                </c:pt>
                <c:pt idx="12">
                  <c:v>21.23</c:v>
                </c:pt>
                <c:pt idx="13">
                  <c:v>24.29</c:v>
                </c:pt>
                <c:pt idx="14">
                  <c:v>24.59</c:v>
                </c:pt>
                <c:pt idx="15">
                  <c:v>26.37</c:v>
                </c:pt>
                <c:pt idx="16">
                  <c:v>28.54</c:v>
                </c:pt>
                <c:pt idx="17">
                  <c:v>30.12</c:v>
                </c:pt>
                <c:pt idx="18">
                  <c:v>42.66</c:v>
                </c:pt>
                <c:pt idx="19">
                  <c:v>92.43</c:v>
                </c:pt>
                <c:pt idx="20">
                  <c:v>94.8</c:v>
                </c:pt>
                <c:pt idx="21">
                  <c:v>11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rPr lang="en-US"/>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rPr lang="en-US"/>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E$2:$E$23</c:f>
              <c:numCache>
                <c:formatCode>General</c:formatCode>
                <c:ptCount val="22"/>
                <c:pt idx="0">
                  <c:v>1.21</c:v>
                </c:pt>
                <c:pt idx="1">
                  <c:v>1.9649999999999999</c:v>
                </c:pt>
                <c:pt idx="2">
                  <c:v>3.96</c:v>
                </c:pt>
                <c:pt idx="3">
                  <c:v>3.9249999999999998</c:v>
                </c:pt>
                <c:pt idx="4">
                  <c:v>3.95</c:v>
                </c:pt>
                <c:pt idx="5">
                  <c:v>5.4749999999999996</c:v>
                </c:pt>
                <c:pt idx="6">
                  <c:v>6.21</c:v>
                </c:pt>
                <c:pt idx="7">
                  <c:v>8.58</c:v>
                </c:pt>
                <c:pt idx="8">
                  <c:v>10.4</c:v>
                </c:pt>
                <c:pt idx="9">
                  <c:v>15.32</c:v>
                </c:pt>
                <c:pt idx="10">
                  <c:v>13.675000000000001</c:v>
                </c:pt>
                <c:pt idx="11">
                  <c:v>15.414999999999999</c:v>
                </c:pt>
                <c:pt idx="12">
                  <c:v>30.115000000000002</c:v>
                </c:pt>
                <c:pt idx="13">
                  <c:v>31.49</c:v>
                </c:pt>
                <c:pt idx="14">
                  <c:v>29.575000000000003</c:v>
                </c:pt>
                <c:pt idx="15">
                  <c:v>24.365000000000002</c:v>
                </c:pt>
                <c:pt idx="16">
                  <c:v>32.064999999999998</c:v>
                </c:pt>
                <c:pt idx="17">
                  <c:v>26.535</c:v>
                </c:pt>
                <c:pt idx="18">
                  <c:v>44.08</c:v>
                </c:pt>
                <c:pt idx="19">
                  <c:v>97.07</c:v>
                </c:pt>
                <c:pt idx="20">
                  <c:v>95.585000000000008</c:v>
                </c:pt>
                <c:pt idx="21">
                  <c:v>131.2699999999999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scaling>
        <c:delete val="0"/>
        <c:axPos val="r"/>
        <c:numFmt formatCode="General"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B$2:$B$23</c:f>
              <c:numCache>
                <c:formatCode>General</c:formatCode>
                <c:ptCount val="22"/>
                <c:pt idx="0">
                  <c:v>13</c:v>
                </c:pt>
                <c:pt idx="1">
                  <c:v>1</c:v>
                </c:pt>
                <c:pt idx="2">
                  <c:v>5</c:v>
                </c:pt>
                <c:pt idx="3">
                  <c:v>14</c:v>
                </c:pt>
                <c:pt idx="4">
                  <c:v>123</c:v>
                </c:pt>
                <c:pt idx="5">
                  <c:v>0</c:v>
                </c:pt>
                <c:pt idx="6">
                  <c:v>0</c:v>
                </c:pt>
                <c:pt idx="7">
                  <c:v>0</c:v>
                </c:pt>
                <c:pt idx="8">
                  <c:v>13</c:v>
                </c:pt>
                <c:pt idx="9">
                  <c:v>0</c:v>
                </c:pt>
                <c:pt idx="10">
                  <c:v>0</c:v>
                </c:pt>
                <c:pt idx="11">
                  <c:v>0</c:v>
                </c:pt>
                <c:pt idx="12">
                  <c:v>0</c:v>
                </c:pt>
                <c:pt idx="13">
                  <c:v>0</c:v>
                </c:pt>
                <c:pt idx="14">
                  <c:v>0</c:v>
                </c:pt>
                <c:pt idx="15">
                  <c:v>1</c:v>
                </c:pt>
                <c:pt idx="16">
                  <c:v>0</c:v>
                </c:pt>
                <c:pt idx="17">
                  <c:v>8</c:v>
                </c:pt>
                <c:pt idx="18">
                  <c:v>0</c:v>
                </c:pt>
                <c:pt idx="19">
                  <c:v>0</c:v>
                </c:pt>
                <c:pt idx="20">
                  <c:v>6</c:v>
                </c:pt>
                <c:pt idx="21">
                  <c:v>0</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C$2:$C$23</c:f>
              <c:numCache>
                <c:formatCode>General</c:formatCode>
                <c:ptCount val="22"/>
                <c:pt idx="0">
                  <c:v>1.1399999999999999</c:v>
                </c:pt>
                <c:pt idx="1">
                  <c:v>2.15</c:v>
                </c:pt>
                <c:pt idx="2">
                  <c:v>4.46</c:v>
                </c:pt>
                <c:pt idx="3">
                  <c:v>4</c:v>
                </c:pt>
                <c:pt idx="4">
                  <c:v>3.95</c:v>
                </c:pt>
                <c:pt idx="5">
                  <c:v>6.9</c:v>
                </c:pt>
                <c:pt idx="6">
                  <c:v>7.58</c:v>
                </c:pt>
                <c:pt idx="7">
                  <c:v>8.27</c:v>
                </c:pt>
                <c:pt idx="8">
                  <c:v>10.92</c:v>
                </c:pt>
                <c:pt idx="9">
                  <c:v>18.79</c:v>
                </c:pt>
                <c:pt idx="10">
                  <c:v>15.11</c:v>
                </c:pt>
                <c:pt idx="11">
                  <c:v>16.61</c:v>
                </c:pt>
                <c:pt idx="12">
                  <c:v>39</c:v>
                </c:pt>
                <c:pt idx="13">
                  <c:v>38.69</c:v>
                </c:pt>
                <c:pt idx="14">
                  <c:v>34.56</c:v>
                </c:pt>
                <c:pt idx="15">
                  <c:v>22.36</c:v>
                </c:pt>
                <c:pt idx="16">
                  <c:v>35.590000000000003</c:v>
                </c:pt>
                <c:pt idx="17">
                  <c:v>22.95</c:v>
                </c:pt>
                <c:pt idx="18">
                  <c:v>45.5</c:v>
                </c:pt>
                <c:pt idx="19">
                  <c:v>101.71</c:v>
                </c:pt>
                <c:pt idx="20">
                  <c:v>96.37</c:v>
                </c:pt>
                <c:pt idx="21">
                  <c:v>144.0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D$2:$D$23</c:f>
              <c:numCache>
                <c:formatCode>General</c:formatCode>
                <c:ptCount val="22"/>
                <c:pt idx="0">
                  <c:v>1.28</c:v>
                </c:pt>
                <c:pt idx="1">
                  <c:v>1.78</c:v>
                </c:pt>
                <c:pt idx="2">
                  <c:v>3.46</c:v>
                </c:pt>
                <c:pt idx="3">
                  <c:v>3.85</c:v>
                </c:pt>
                <c:pt idx="4">
                  <c:v>3.95</c:v>
                </c:pt>
                <c:pt idx="5">
                  <c:v>4.05</c:v>
                </c:pt>
                <c:pt idx="6">
                  <c:v>4.84</c:v>
                </c:pt>
                <c:pt idx="7">
                  <c:v>8.89</c:v>
                </c:pt>
                <c:pt idx="8">
                  <c:v>9.8800000000000008</c:v>
                </c:pt>
                <c:pt idx="9">
                  <c:v>11.85</c:v>
                </c:pt>
                <c:pt idx="10">
                  <c:v>12.24</c:v>
                </c:pt>
                <c:pt idx="11">
                  <c:v>14.22</c:v>
                </c:pt>
                <c:pt idx="12">
                  <c:v>21.23</c:v>
                </c:pt>
                <c:pt idx="13">
                  <c:v>24.29</c:v>
                </c:pt>
                <c:pt idx="14">
                  <c:v>24.59</c:v>
                </c:pt>
                <c:pt idx="15">
                  <c:v>26.37</c:v>
                </c:pt>
                <c:pt idx="16">
                  <c:v>28.54</c:v>
                </c:pt>
                <c:pt idx="17">
                  <c:v>30.12</c:v>
                </c:pt>
                <c:pt idx="18">
                  <c:v>42.66</c:v>
                </c:pt>
                <c:pt idx="19">
                  <c:v>92.43</c:v>
                </c:pt>
                <c:pt idx="20">
                  <c:v>94.8</c:v>
                </c:pt>
                <c:pt idx="21">
                  <c:v>11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rPr lang="en-US"/>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rPr lang="en-US"/>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E$2:$E$23</c:f>
              <c:numCache>
                <c:formatCode>General</c:formatCode>
                <c:ptCount val="22"/>
                <c:pt idx="0">
                  <c:v>1.21</c:v>
                </c:pt>
                <c:pt idx="1">
                  <c:v>1.9649999999999999</c:v>
                </c:pt>
                <c:pt idx="2">
                  <c:v>3.96</c:v>
                </c:pt>
                <c:pt idx="3">
                  <c:v>3.9249999999999998</c:v>
                </c:pt>
                <c:pt idx="4">
                  <c:v>3.95</c:v>
                </c:pt>
                <c:pt idx="5">
                  <c:v>5.4749999999999996</c:v>
                </c:pt>
                <c:pt idx="6">
                  <c:v>6.21</c:v>
                </c:pt>
                <c:pt idx="7">
                  <c:v>8.58</c:v>
                </c:pt>
                <c:pt idx="8">
                  <c:v>10.4</c:v>
                </c:pt>
                <c:pt idx="9">
                  <c:v>15.32</c:v>
                </c:pt>
                <c:pt idx="10">
                  <c:v>13.675000000000001</c:v>
                </c:pt>
                <c:pt idx="11">
                  <c:v>15.414999999999999</c:v>
                </c:pt>
                <c:pt idx="12">
                  <c:v>30.115000000000002</c:v>
                </c:pt>
                <c:pt idx="13">
                  <c:v>31.49</c:v>
                </c:pt>
                <c:pt idx="14">
                  <c:v>29.575000000000003</c:v>
                </c:pt>
                <c:pt idx="15">
                  <c:v>24.365000000000002</c:v>
                </c:pt>
                <c:pt idx="16">
                  <c:v>32.064999999999998</c:v>
                </c:pt>
                <c:pt idx="17">
                  <c:v>26.535</c:v>
                </c:pt>
                <c:pt idx="18">
                  <c:v>44.08</c:v>
                </c:pt>
                <c:pt idx="19">
                  <c:v>97.07</c:v>
                </c:pt>
                <c:pt idx="20">
                  <c:v>95.585000000000008</c:v>
                </c:pt>
                <c:pt idx="21">
                  <c:v>131.2699999999999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scaling>
        <c:delete val="0"/>
        <c:axPos val="r"/>
        <c:numFmt formatCode="General"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B$2:$B$23</c:f>
              <c:numCache>
                <c:formatCode>General</c:formatCode>
                <c:ptCount val="22"/>
                <c:pt idx="0">
                  <c:v>13</c:v>
                </c:pt>
                <c:pt idx="1">
                  <c:v>1</c:v>
                </c:pt>
                <c:pt idx="2">
                  <c:v>5</c:v>
                </c:pt>
                <c:pt idx="3">
                  <c:v>14</c:v>
                </c:pt>
                <c:pt idx="4">
                  <c:v>123</c:v>
                </c:pt>
                <c:pt idx="5">
                  <c:v>0</c:v>
                </c:pt>
                <c:pt idx="6">
                  <c:v>0</c:v>
                </c:pt>
                <c:pt idx="7">
                  <c:v>0</c:v>
                </c:pt>
                <c:pt idx="8">
                  <c:v>13</c:v>
                </c:pt>
                <c:pt idx="9">
                  <c:v>0</c:v>
                </c:pt>
                <c:pt idx="10">
                  <c:v>0</c:v>
                </c:pt>
                <c:pt idx="11">
                  <c:v>0</c:v>
                </c:pt>
                <c:pt idx="12">
                  <c:v>0</c:v>
                </c:pt>
                <c:pt idx="13">
                  <c:v>0</c:v>
                </c:pt>
                <c:pt idx="14">
                  <c:v>0</c:v>
                </c:pt>
                <c:pt idx="15">
                  <c:v>1</c:v>
                </c:pt>
                <c:pt idx="16">
                  <c:v>0</c:v>
                </c:pt>
                <c:pt idx="17">
                  <c:v>8</c:v>
                </c:pt>
                <c:pt idx="18">
                  <c:v>0</c:v>
                </c:pt>
                <c:pt idx="19">
                  <c:v>0</c:v>
                </c:pt>
                <c:pt idx="20">
                  <c:v>6</c:v>
                </c:pt>
                <c:pt idx="21">
                  <c:v>0</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C$2:$C$23</c:f>
              <c:numCache>
                <c:formatCode>General</c:formatCode>
                <c:ptCount val="22"/>
                <c:pt idx="0">
                  <c:v>1.1399999999999999</c:v>
                </c:pt>
                <c:pt idx="1">
                  <c:v>2.15</c:v>
                </c:pt>
                <c:pt idx="2">
                  <c:v>4.46</c:v>
                </c:pt>
                <c:pt idx="3">
                  <c:v>4</c:v>
                </c:pt>
                <c:pt idx="4">
                  <c:v>3.95</c:v>
                </c:pt>
                <c:pt idx="5">
                  <c:v>6.9</c:v>
                </c:pt>
                <c:pt idx="6">
                  <c:v>7.58</c:v>
                </c:pt>
                <c:pt idx="7">
                  <c:v>8.27</c:v>
                </c:pt>
                <c:pt idx="8">
                  <c:v>10.92</c:v>
                </c:pt>
                <c:pt idx="9">
                  <c:v>18.79</c:v>
                </c:pt>
                <c:pt idx="10">
                  <c:v>15.11</c:v>
                </c:pt>
                <c:pt idx="11">
                  <c:v>16.61</c:v>
                </c:pt>
                <c:pt idx="12">
                  <c:v>39</c:v>
                </c:pt>
                <c:pt idx="13">
                  <c:v>38.69</c:v>
                </c:pt>
                <c:pt idx="14">
                  <c:v>34.56</c:v>
                </c:pt>
                <c:pt idx="15">
                  <c:v>22.36</c:v>
                </c:pt>
                <c:pt idx="16">
                  <c:v>35.590000000000003</c:v>
                </c:pt>
                <c:pt idx="17">
                  <c:v>22.95</c:v>
                </c:pt>
                <c:pt idx="18">
                  <c:v>45.5</c:v>
                </c:pt>
                <c:pt idx="19">
                  <c:v>101.71</c:v>
                </c:pt>
                <c:pt idx="20">
                  <c:v>96.37</c:v>
                </c:pt>
                <c:pt idx="21">
                  <c:v>144.0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D$2:$D$23</c:f>
              <c:numCache>
                <c:formatCode>General</c:formatCode>
                <c:ptCount val="22"/>
                <c:pt idx="0">
                  <c:v>1.28</c:v>
                </c:pt>
                <c:pt idx="1">
                  <c:v>1.78</c:v>
                </c:pt>
                <c:pt idx="2">
                  <c:v>3.46</c:v>
                </c:pt>
                <c:pt idx="3">
                  <c:v>3.85</c:v>
                </c:pt>
                <c:pt idx="4">
                  <c:v>3.95</c:v>
                </c:pt>
                <c:pt idx="5">
                  <c:v>4.05</c:v>
                </c:pt>
                <c:pt idx="6">
                  <c:v>4.84</c:v>
                </c:pt>
                <c:pt idx="7">
                  <c:v>8.89</c:v>
                </c:pt>
                <c:pt idx="8">
                  <c:v>9.8800000000000008</c:v>
                </c:pt>
                <c:pt idx="9">
                  <c:v>11.85</c:v>
                </c:pt>
                <c:pt idx="10">
                  <c:v>12.24</c:v>
                </c:pt>
                <c:pt idx="11">
                  <c:v>14.22</c:v>
                </c:pt>
                <c:pt idx="12">
                  <c:v>21.23</c:v>
                </c:pt>
                <c:pt idx="13">
                  <c:v>24.29</c:v>
                </c:pt>
                <c:pt idx="14">
                  <c:v>24.59</c:v>
                </c:pt>
                <c:pt idx="15">
                  <c:v>26.37</c:v>
                </c:pt>
                <c:pt idx="16">
                  <c:v>28.54</c:v>
                </c:pt>
                <c:pt idx="17">
                  <c:v>30.12</c:v>
                </c:pt>
                <c:pt idx="18">
                  <c:v>42.66</c:v>
                </c:pt>
                <c:pt idx="19">
                  <c:v>92.43</c:v>
                </c:pt>
                <c:pt idx="20">
                  <c:v>94.8</c:v>
                </c:pt>
                <c:pt idx="21">
                  <c:v>11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rPr lang="en-US"/>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rPr lang="en-US"/>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E$2:$E$23</c:f>
              <c:numCache>
                <c:formatCode>General</c:formatCode>
                <c:ptCount val="22"/>
                <c:pt idx="0">
                  <c:v>1.21</c:v>
                </c:pt>
                <c:pt idx="1">
                  <c:v>1.9649999999999999</c:v>
                </c:pt>
                <c:pt idx="2">
                  <c:v>3.96</c:v>
                </c:pt>
                <c:pt idx="3">
                  <c:v>3.9249999999999998</c:v>
                </c:pt>
                <c:pt idx="4">
                  <c:v>3.95</c:v>
                </c:pt>
                <c:pt idx="5">
                  <c:v>5.4749999999999996</c:v>
                </c:pt>
                <c:pt idx="6">
                  <c:v>6.21</c:v>
                </c:pt>
                <c:pt idx="7">
                  <c:v>8.58</c:v>
                </c:pt>
                <c:pt idx="8">
                  <c:v>10.4</c:v>
                </c:pt>
                <c:pt idx="9">
                  <c:v>15.32</c:v>
                </c:pt>
                <c:pt idx="10">
                  <c:v>13.675000000000001</c:v>
                </c:pt>
                <c:pt idx="11">
                  <c:v>15.414999999999999</c:v>
                </c:pt>
                <c:pt idx="12">
                  <c:v>30.115000000000002</c:v>
                </c:pt>
                <c:pt idx="13">
                  <c:v>31.49</c:v>
                </c:pt>
                <c:pt idx="14">
                  <c:v>29.575000000000003</c:v>
                </c:pt>
                <c:pt idx="15">
                  <c:v>24.365000000000002</c:v>
                </c:pt>
                <c:pt idx="16">
                  <c:v>32.064999999999998</c:v>
                </c:pt>
                <c:pt idx="17">
                  <c:v>26.535</c:v>
                </c:pt>
                <c:pt idx="18">
                  <c:v>44.08</c:v>
                </c:pt>
                <c:pt idx="19">
                  <c:v>97.07</c:v>
                </c:pt>
                <c:pt idx="20">
                  <c:v>95.585000000000008</c:v>
                </c:pt>
                <c:pt idx="21">
                  <c:v>131.2699999999999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scaling>
        <c:delete val="0"/>
        <c:axPos val="r"/>
        <c:numFmt formatCode="General"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B$2:$B$23</c:f>
              <c:numCache>
                <c:formatCode>General</c:formatCode>
                <c:ptCount val="22"/>
                <c:pt idx="0">
                  <c:v>13</c:v>
                </c:pt>
                <c:pt idx="1">
                  <c:v>1</c:v>
                </c:pt>
                <c:pt idx="2">
                  <c:v>5</c:v>
                </c:pt>
                <c:pt idx="3">
                  <c:v>14</c:v>
                </c:pt>
                <c:pt idx="4">
                  <c:v>123</c:v>
                </c:pt>
                <c:pt idx="5">
                  <c:v>0</c:v>
                </c:pt>
                <c:pt idx="6">
                  <c:v>0</c:v>
                </c:pt>
                <c:pt idx="7">
                  <c:v>0</c:v>
                </c:pt>
                <c:pt idx="8">
                  <c:v>13</c:v>
                </c:pt>
                <c:pt idx="9">
                  <c:v>0</c:v>
                </c:pt>
                <c:pt idx="10">
                  <c:v>0</c:v>
                </c:pt>
                <c:pt idx="11">
                  <c:v>0</c:v>
                </c:pt>
                <c:pt idx="12">
                  <c:v>0</c:v>
                </c:pt>
                <c:pt idx="13">
                  <c:v>0</c:v>
                </c:pt>
                <c:pt idx="14">
                  <c:v>0</c:v>
                </c:pt>
                <c:pt idx="15">
                  <c:v>1</c:v>
                </c:pt>
                <c:pt idx="16">
                  <c:v>0</c:v>
                </c:pt>
                <c:pt idx="17">
                  <c:v>8</c:v>
                </c:pt>
                <c:pt idx="18">
                  <c:v>0</c:v>
                </c:pt>
                <c:pt idx="19">
                  <c:v>0</c:v>
                </c:pt>
                <c:pt idx="20">
                  <c:v>6</c:v>
                </c:pt>
                <c:pt idx="21">
                  <c:v>0</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C$2:$C$23</c:f>
              <c:numCache>
                <c:formatCode>General</c:formatCode>
                <c:ptCount val="22"/>
                <c:pt idx="0">
                  <c:v>1.1399999999999999</c:v>
                </c:pt>
                <c:pt idx="1">
                  <c:v>2.15</c:v>
                </c:pt>
                <c:pt idx="2">
                  <c:v>4.46</c:v>
                </c:pt>
                <c:pt idx="3">
                  <c:v>4</c:v>
                </c:pt>
                <c:pt idx="4">
                  <c:v>3.95</c:v>
                </c:pt>
                <c:pt idx="5">
                  <c:v>6.9</c:v>
                </c:pt>
                <c:pt idx="6">
                  <c:v>7.58</c:v>
                </c:pt>
                <c:pt idx="7">
                  <c:v>8.27</c:v>
                </c:pt>
                <c:pt idx="8">
                  <c:v>10.92</c:v>
                </c:pt>
                <c:pt idx="9">
                  <c:v>18.79</c:v>
                </c:pt>
                <c:pt idx="10">
                  <c:v>15.11</c:v>
                </c:pt>
                <c:pt idx="11">
                  <c:v>16.61</c:v>
                </c:pt>
                <c:pt idx="12">
                  <c:v>39</c:v>
                </c:pt>
                <c:pt idx="13">
                  <c:v>38.69</c:v>
                </c:pt>
                <c:pt idx="14">
                  <c:v>34.56</c:v>
                </c:pt>
                <c:pt idx="15">
                  <c:v>22.36</c:v>
                </c:pt>
                <c:pt idx="16">
                  <c:v>35.590000000000003</c:v>
                </c:pt>
                <c:pt idx="17">
                  <c:v>22.95</c:v>
                </c:pt>
                <c:pt idx="18">
                  <c:v>45.5</c:v>
                </c:pt>
                <c:pt idx="19">
                  <c:v>101.71</c:v>
                </c:pt>
                <c:pt idx="20">
                  <c:v>96.37</c:v>
                </c:pt>
                <c:pt idx="21">
                  <c:v>144.0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D$2:$D$23</c:f>
              <c:numCache>
                <c:formatCode>General</c:formatCode>
                <c:ptCount val="22"/>
                <c:pt idx="0">
                  <c:v>1.28</c:v>
                </c:pt>
                <c:pt idx="1">
                  <c:v>1.78</c:v>
                </c:pt>
                <c:pt idx="2">
                  <c:v>3.46</c:v>
                </c:pt>
                <c:pt idx="3">
                  <c:v>3.85</c:v>
                </c:pt>
                <c:pt idx="4">
                  <c:v>3.95</c:v>
                </c:pt>
                <c:pt idx="5">
                  <c:v>4.05</c:v>
                </c:pt>
                <c:pt idx="6">
                  <c:v>4.84</c:v>
                </c:pt>
                <c:pt idx="7">
                  <c:v>8.89</c:v>
                </c:pt>
                <c:pt idx="8">
                  <c:v>9.8800000000000008</c:v>
                </c:pt>
                <c:pt idx="9">
                  <c:v>11.85</c:v>
                </c:pt>
                <c:pt idx="10">
                  <c:v>12.24</c:v>
                </c:pt>
                <c:pt idx="11">
                  <c:v>14.22</c:v>
                </c:pt>
                <c:pt idx="12">
                  <c:v>21.23</c:v>
                </c:pt>
                <c:pt idx="13">
                  <c:v>24.29</c:v>
                </c:pt>
                <c:pt idx="14">
                  <c:v>24.59</c:v>
                </c:pt>
                <c:pt idx="15">
                  <c:v>26.37</c:v>
                </c:pt>
                <c:pt idx="16">
                  <c:v>28.54</c:v>
                </c:pt>
                <c:pt idx="17">
                  <c:v>30.12</c:v>
                </c:pt>
                <c:pt idx="18">
                  <c:v>42.66</c:v>
                </c:pt>
                <c:pt idx="19">
                  <c:v>92.43</c:v>
                </c:pt>
                <c:pt idx="20">
                  <c:v>94.8</c:v>
                </c:pt>
                <c:pt idx="21">
                  <c:v>11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rPr lang="en-US"/>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rPr lang="en-US"/>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E$2:$E$23</c:f>
              <c:numCache>
                <c:formatCode>General</c:formatCode>
                <c:ptCount val="22"/>
                <c:pt idx="0">
                  <c:v>1.21</c:v>
                </c:pt>
                <c:pt idx="1">
                  <c:v>1.9649999999999999</c:v>
                </c:pt>
                <c:pt idx="2">
                  <c:v>3.96</c:v>
                </c:pt>
                <c:pt idx="3">
                  <c:v>3.9249999999999998</c:v>
                </c:pt>
                <c:pt idx="4">
                  <c:v>3.95</c:v>
                </c:pt>
                <c:pt idx="5">
                  <c:v>5.4749999999999996</c:v>
                </c:pt>
                <c:pt idx="6">
                  <c:v>6.21</c:v>
                </c:pt>
                <c:pt idx="7">
                  <c:v>8.58</c:v>
                </c:pt>
                <c:pt idx="8">
                  <c:v>10.4</c:v>
                </c:pt>
                <c:pt idx="9">
                  <c:v>15.32</c:v>
                </c:pt>
                <c:pt idx="10">
                  <c:v>13.675000000000001</c:v>
                </c:pt>
                <c:pt idx="11">
                  <c:v>15.414999999999999</c:v>
                </c:pt>
                <c:pt idx="12">
                  <c:v>30.115000000000002</c:v>
                </c:pt>
                <c:pt idx="13">
                  <c:v>31.49</c:v>
                </c:pt>
                <c:pt idx="14">
                  <c:v>29.575000000000003</c:v>
                </c:pt>
                <c:pt idx="15">
                  <c:v>24.365000000000002</c:v>
                </c:pt>
                <c:pt idx="16">
                  <c:v>32.064999999999998</c:v>
                </c:pt>
                <c:pt idx="17">
                  <c:v>26.535</c:v>
                </c:pt>
                <c:pt idx="18">
                  <c:v>44.08</c:v>
                </c:pt>
                <c:pt idx="19">
                  <c:v>97.07</c:v>
                </c:pt>
                <c:pt idx="20">
                  <c:v>95.585000000000008</c:v>
                </c:pt>
                <c:pt idx="21">
                  <c:v>131.2699999999999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scaling>
        <c:delete val="0"/>
        <c:axPos val="r"/>
        <c:numFmt formatCode="General"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B$2:$B$23</c:f>
              <c:numCache>
                <c:formatCode>General</c:formatCode>
                <c:ptCount val="22"/>
                <c:pt idx="0">
                  <c:v>13</c:v>
                </c:pt>
                <c:pt idx="1">
                  <c:v>1</c:v>
                </c:pt>
                <c:pt idx="2">
                  <c:v>5</c:v>
                </c:pt>
                <c:pt idx="3">
                  <c:v>14</c:v>
                </c:pt>
                <c:pt idx="4">
                  <c:v>123</c:v>
                </c:pt>
                <c:pt idx="5">
                  <c:v>0</c:v>
                </c:pt>
                <c:pt idx="6">
                  <c:v>0</c:v>
                </c:pt>
                <c:pt idx="7">
                  <c:v>0</c:v>
                </c:pt>
                <c:pt idx="8">
                  <c:v>13</c:v>
                </c:pt>
                <c:pt idx="9">
                  <c:v>0</c:v>
                </c:pt>
                <c:pt idx="10">
                  <c:v>0</c:v>
                </c:pt>
                <c:pt idx="11">
                  <c:v>0</c:v>
                </c:pt>
                <c:pt idx="12">
                  <c:v>0</c:v>
                </c:pt>
                <c:pt idx="13">
                  <c:v>0</c:v>
                </c:pt>
                <c:pt idx="14">
                  <c:v>0</c:v>
                </c:pt>
                <c:pt idx="15">
                  <c:v>1</c:v>
                </c:pt>
                <c:pt idx="16">
                  <c:v>0</c:v>
                </c:pt>
                <c:pt idx="17">
                  <c:v>8</c:v>
                </c:pt>
                <c:pt idx="18">
                  <c:v>0</c:v>
                </c:pt>
                <c:pt idx="19">
                  <c:v>0</c:v>
                </c:pt>
                <c:pt idx="20">
                  <c:v>6</c:v>
                </c:pt>
                <c:pt idx="21">
                  <c:v>0</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C$2:$C$23</c:f>
              <c:numCache>
                <c:formatCode>General</c:formatCode>
                <c:ptCount val="22"/>
                <c:pt idx="0">
                  <c:v>1.1399999999999999</c:v>
                </c:pt>
                <c:pt idx="1">
                  <c:v>2.15</c:v>
                </c:pt>
                <c:pt idx="2">
                  <c:v>4.46</c:v>
                </c:pt>
                <c:pt idx="3">
                  <c:v>4</c:v>
                </c:pt>
                <c:pt idx="4">
                  <c:v>3.95</c:v>
                </c:pt>
                <c:pt idx="5">
                  <c:v>6.9</c:v>
                </c:pt>
                <c:pt idx="6">
                  <c:v>7.58</c:v>
                </c:pt>
                <c:pt idx="7">
                  <c:v>8.27</c:v>
                </c:pt>
                <c:pt idx="8">
                  <c:v>10.92</c:v>
                </c:pt>
                <c:pt idx="9">
                  <c:v>18.79</c:v>
                </c:pt>
                <c:pt idx="10">
                  <c:v>15.11</c:v>
                </c:pt>
                <c:pt idx="11">
                  <c:v>16.61</c:v>
                </c:pt>
                <c:pt idx="12">
                  <c:v>39</c:v>
                </c:pt>
                <c:pt idx="13">
                  <c:v>38.69</c:v>
                </c:pt>
                <c:pt idx="14">
                  <c:v>34.56</c:v>
                </c:pt>
                <c:pt idx="15">
                  <c:v>22.36</c:v>
                </c:pt>
                <c:pt idx="16">
                  <c:v>35.590000000000003</c:v>
                </c:pt>
                <c:pt idx="17">
                  <c:v>22.95</c:v>
                </c:pt>
                <c:pt idx="18">
                  <c:v>45.5</c:v>
                </c:pt>
                <c:pt idx="19">
                  <c:v>101.71</c:v>
                </c:pt>
                <c:pt idx="20">
                  <c:v>96.37</c:v>
                </c:pt>
                <c:pt idx="21">
                  <c:v>144.0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D$2:$D$23</c:f>
              <c:numCache>
                <c:formatCode>General</c:formatCode>
                <c:ptCount val="22"/>
                <c:pt idx="0">
                  <c:v>1.28</c:v>
                </c:pt>
                <c:pt idx="1">
                  <c:v>1.78</c:v>
                </c:pt>
                <c:pt idx="2">
                  <c:v>3.46</c:v>
                </c:pt>
                <c:pt idx="3">
                  <c:v>3.85</c:v>
                </c:pt>
                <c:pt idx="4">
                  <c:v>3.95</c:v>
                </c:pt>
                <c:pt idx="5">
                  <c:v>4.05</c:v>
                </c:pt>
                <c:pt idx="6">
                  <c:v>4.84</c:v>
                </c:pt>
                <c:pt idx="7">
                  <c:v>8.89</c:v>
                </c:pt>
                <c:pt idx="8">
                  <c:v>9.8800000000000008</c:v>
                </c:pt>
                <c:pt idx="9">
                  <c:v>11.85</c:v>
                </c:pt>
                <c:pt idx="10">
                  <c:v>12.24</c:v>
                </c:pt>
                <c:pt idx="11">
                  <c:v>14.22</c:v>
                </c:pt>
                <c:pt idx="12">
                  <c:v>21.23</c:v>
                </c:pt>
                <c:pt idx="13">
                  <c:v>24.29</c:v>
                </c:pt>
                <c:pt idx="14">
                  <c:v>24.59</c:v>
                </c:pt>
                <c:pt idx="15">
                  <c:v>26.37</c:v>
                </c:pt>
                <c:pt idx="16">
                  <c:v>28.54</c:v>
                </c:pt>
                <c:pt idx="17">
                  <c:v>30.12</c:v>
                </c:pt>
                <c:pt idx="18">
                  <c:v>42.66</c:v>
                </c:pt>
                <c:pt idx="19">
                  <c:v>92.43</c:v>
                </c:pt>
                <c:pt idx="20">
                  <c:v>94.8</c:v>
                </c:pt>
                <c:pt idx="21">
                  <c:v>11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rPr lang="en-US"/>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rPr lang="en-US"/>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E$2:$E$23</c:f>
              <c:numCache>
                <c:formatCode>General</c:formatCode>
                <c:ptCount val="22"/>
                <c:pt idx="0">
                  <c:v>1.21</c:v>
                </c:pt>
                <c:pt idx="1">
                  <c:v>1.9649999999999999</c:v>
                </c:pt>
                <c:pt idx="2">
                  <c:v>3.96</c:v>
                </c:pt>
                <c:pt idx="3">
                  <c:v>3.9249999999999998</c:v>
                </c:pt>
                <c:pt idx="4">
                  <c:v>3.95</c:v>
                </c:pt>
                <c:pt idx="5">
                  <c:v>5.4749999999999996</c:v>
                </c:pt>
                <c:pt idx="6">
                  <c:v>6.21</c:v>
                </c:pt>
                <c:pt idx="7">
                  <c:v>8.58</c:v>
                </c:pt>
                <c:pt idx="8">
                  <c:v>10.4</c:v>
                </c:pt>
                <c:pt idx="9">
                  <c:v>15.32</c:v>
                </c:pt>
                <c:pt idx="10">
                  <c:v>13.675000000000001</c:v>
                </c:pt>
                <c:pt idx="11">
                  <c:v>15.414999999999999</c:v>
                </c:pt>
                <c:pt idx="12">
                  <c:v>30.115000000000002</c:v>
                </c:pt>
                <c:pt idx="13">
                  <c:v>31.49</c:v>
                </c:pt>
                <c:pt idx="14">
                  <c:v>29.575000000000003</c:v>
                </c:pt>
                <c:pt idx="15">
                  <c:v>24.365000000000002</c:v>
                </c:pt>
                <c:pt idx="16">
                  <c:v>32.064999999999998</c:v>
                </c:pt>
                <c:pt idx="17">
                  <c:v>26.535</c:v>
                </c:pt>
                <c:pt idx="18">
                  <c:v>44.08</c:v>
                </c:pt>
                <c:pt idx="19">
                  <c:v>97.07</c:v>
                </c:pt>
                <c:pt idx="20">
                  <c:v>95.585000000000008</c:v>
                </c:pt>
                <c:pt idx="21">
                  <c:v>131.2699999999999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scaling>
        <c:delete val="0"/>
        <c:axPos val="r"/>
        <c:numFmt formatCode="General"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B$2:$B$23</c:f>
              <c:numCache>
                <c:formatCode>General</c:formatCode>
                <c:ptCount val="22"/>
                <c:pt idx="0">
                  <c:v>13</c:v>
                </c:pt>
                <c:pt idx="1">
                  <c:v>1</c:v>
                </c:pt>
                <c:pt idx="2">
                  <c:v>5</c:v>
                </c:pt>
                <c:pt idx="3">
                  <c:v>14</c:v>
                </c:pt>
                <c:pt idx="4">
                  <c:v>123</c:v>
                </c:pt>
                <c:pt idx="5">
                  <c:v>0</c:v>
                </c:pt>
                <c:pt idx="6">
                  <c:v>0</c:v>
                </c:pt>
                <c:pt idx="7">
                  <c:v>0</c:v>
                </c:pt>
                <c:pt idx="8">
                  <c:v>13</c:v>
                </c:pt>
                <c:pt idx="9">
                  <c:v>0</c:v>
                </c:pt>
                <c:pt idx="10">
                  <c:v>0</c:v>
                </c:pt>
                <c:pt idx="11">
                  <c:v>0</c:v>
                </c:pt>
                <c:pt idx="12">
                  <c:v>0</c:v>
                </c:pt>
                <c:pt idx="13">
                  <c:v>0</c:v>
                </c:pt>
                <c:pt idx="14">
                  <c:v>0</c:v>
                </c:pt>
                <c:pt idx="15">
                  <c:v>1</c:v>
                </c:pt>
                <c:pt idx="16">
                  <c:v>0</c:v>
                </c:pt>
                <c:pt idx="17">
                  <c:v>8</c:v>
                </c:pt>
                <c:pt idx="18">
                  <c:v>0</c:v>
                </c:pt>
                <c:pt idx="19">
                  <c:v>0</c:v>
                </c:pt>
                <c:pt idx="20">
                  <c:v>6</c:v>
                </c:pt>
                <c:pt idx="21">
                  <c:v>0</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C$2:$C$23</c:f>
              <c:numCache>
                <c:formatCode>General</c:formatCode>
                <c:ptCount val="22"/>
                <c:pt idx="0">
                  <c:v>1.1399999999999999</c:v>
                </c:pt>
                <c:pt idx="1">
                  <c:v>2.15</c:v>
                </c:pt>
                <c:pt idx="2">
                  <c:v>4.46</c:v>
                </c:pt>
                <c:pt idx="3">
                  <c:v>4</c:v>
                </c:pt>
                <c:pt idx="4">
                  <c:v>3.95</c:v>
                </c:pt>
                <c:pt idx="5">
                  <c:v>6.9</c:v>
                </c:pt>
                <c:pt idx="6">
                  <c:v>7.58</c:v>
                </c:pt>
                <c:pt idx="7">
                  <c:v>8.27</c:v>
                </c:pt>
                <c:pt idx="8">
                  <c:v>10.92</c:v>
                </c:pt>
                <c:pt idx="9">
                  <c:v>18.79</c:v>
                </c:pt>
                <c:pt idx="10">
                  <c:v>15.11</c:v>
                </c:pt>
                <c:pt idx="11">
                  <c:v>16.61</c:v>
                </c:pt>
                <c:pt idx="12">
                  <c:v>39</c:v>
                </c:pt>
                <c:pt idx="13">
                  <c:v>38.69</c:v>
                </c:pt>
                <c:pt idx="14">
                  <c:v>34.56</c:v>
                </c:pt>
                <c:pt idx="15">
                  <c:v>22.36</c:v>
                </c:pt>
                <c:pt idx="16">
                  <c:v>35.590000000000003</c:v>
                </c:pt>
                <c:pt idx="17">
                  <c:v>22.95</c:v>
                </c:pt>
                <c:pt idx="18">
                  <c:v>45.5</c:v>
                </c:pt>
                <c:pt idx="19">
                  <c:v>101.71</c:v>
                </c:pt>
                <c:pt idx="20">
                  <c:v>96.37</c:v>
                </c:pt>
                <c:pt idx="21">
                  <c:v>144.0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D$2:$D$23</c:f>
              <c:numCache>
                <c:formatCode>General</c:formatCode>
                <c:ptCount val="22"/>
                <c:pt idx="0">
                  <c:v>1.28</c:v>
                </c:pt>
                <c:pt idx="1">
                  <c:v>1.78</c:v>
                </c:pt>
                <c:pt idx="2">
                  <c:v>3.46</c:v>
                </c:pt>
                <c:pt idx="3">
                  <c:v>3.85</c:v>
                </c:pt>
                <c:pt idx="4">
                  <c:v>3.95</c:v>
                </c:pt>
                <c:pt idx="5">
                  <c:v>4.05</c:v>
                </c:pt>
                <c:pt idx="6">
                  <c:v>4.84</c:v>
                </c:pt>
                <c:pt idx="7">
                  <c:v>8.89</c:v>
                </c:pt>
                <c:pt idx="8">
                  <c:v>9.8800000000000008</c:v>
                </c:pt>
                <c:pt idx="9">
                  <c:v>11.85</c:v>
                </c:pt>
                <c:pt idx="10">
                  <c:v>12.24</c:v>
                </c:pt>
                <c:pt idx="11">
                  <c:v>14.22</c:v>
                </c:pt>
                <c:pt idx="12">
                  <c:v>21.23</c:v>
                </c:pt>
                <c:pt idx="13">
                  <c:v>24.29</c:v>
                </c:pt>
                <c:pt idx="14">
                  <c:v>24.59</c:v>
                </c:pt>
                <c:pt idx="15">
                  <c:v>26.37</c:v>
                </c:pt>
                <c:pt idx="16">
                  <c:v>28.54</c:v>
                </c:pt>
                <c:pt idx="17">
                  <c:v>30.12</c:v>
                </c:pt>
                <c:pt idx="18">
                  <c:v>42.66</c:v>
                </c:pt>
                <c:pt idx="19">
                  <c:v>92.43</c:v>
                </c:pt>
                <c:pt idx="20">
                  <c:v>94.8</c:v>
                </c:pt>
                <c:pt idx="21">
                  <c:v>11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rPr lang="en-US"/>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rPr lang="en-US"/>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E$2:$E$23</c:f>
              <c:numCache>
                <c:formatCode>General</c:formatCode>
                <c:ptCount val="22"/>
                <c:pt idx="0">
                  <c:v>1.21</c:v>
                </c:pt>
                <c:pt idx="1">
                  <c:v>1.9649999999999999</c:v>
                </c:pt>
                <c:pt idx="2">
                  <c:v>3.96</c:v>
                </c:pt>
                <c:pt idx="3">
                  <c:v>3.9249999999999998</c:v>
                </c:pt>
                <c:pt idx="4">
                  <c:v>3.95</c:v>
                </c:pt>
                <c:pt idx="5">
                  <c:v>5.4749999999999996</c:v>
                </c:pt>
                <c:pt idx="6">
                  <c:v>6.21</c:v>
                </c:pt>
                <c:pt idx="7">
                  <c:v>8.58</c:v>
                </c:pt>
                <c:pt idx="8">
                  <c:v>10.4</c:v>
                </c:pt>
                <c:pt idx="9">
                  <c:v>15.32</c:v>
                </c:pt>
                <c:pt idx="10">
                  <c:v>13.675000000000001</c:v>
                </c:pt>
                <c:pt idx="11">
                  <c:v>15.414999999999999</c:v>
                </c:pt>
                <c:pt idx="12">
                  <c:v>30.115000000000002</c:v>
                </c:pt>
                <c:pt idx="13">
                  <c:v>31.49</c:v>
                </c:pt>
                <c:pt idx="14">
                  <c:v>29.575000000000003</c:v>
                </c:pt>
                <c:pt idx="15">
                  <c:v>24.365000000000002</c:v>
                </c:pt>
                <c:pt idx="16">
                  <c:v>32.064999999999998</c:v>
                </c:pt>
                <c:pt idx="17">
                  <c:v>26.535</c:v>
                </c:pt>
                <c:pt idx="18">
                  <c:v>44.08</c:v>
                </c:pt>
                <c:pt idx="19">
                  <c:v>97.07</c:v>
                </c:pt>
                <c:pt idx="20">
                  <c:v>95.585000000000008</c:v>
                </c:pt>
                <c:pt idx="21">
                  <c:v>131.2699999999999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scaling>
        <c:delete val="0"/>
        <c:axPos val="r"/>
        <c:numFmt formatCode="General"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B$2:$B$23</c:f>
              <c:numCache>
                <c:formatCode>General</c:formatCode>
                <c:ptCount val="22"/>
                <c:pt idx="0">
                  <c:v>13</c:v>
                </c:pt>
                <c:pt idx="1">
                  <c:v>1</c:v>
                </c:pt>
                <c:pt idx="2">
                  <c:v>5</c:v>
                </c:pt>
                <c:pt idx="3">
                  <c:v>14</c:v>
                </c:pt>
                <c:pt idx="4">
                  <c:v>123</c:v>
                </c:pt>
                <c:pt idx="5">
                  <c:v>0</c:v>
                </c:pt>
                <c:pt idx="6">
                  <c:v>0</c:v>
                </c:pt>
                <c:pt idx="7">
                  <c:v>0</c:v>
                </c:pt>
                <c:pt idx="8">
                  <c:v>13</c:v>
                </c:pt>
                <c:pt idx="9">
                  <c:v>0</c:v>
                </c:pt>
                <c:pt idx="10">
                  <c:v>0</c:v>
                </c:pt>
                <c:pt idx="11">
                  <c:v>0</c:v>
                </c:pt>
                <c:pt idx="12">
                  <c:v>0</c:v>
                </c:pt>
                <c:pt idx="13">
                  <c:v>0</c:v>
                </c:pt>
                <c:pt idx="14">
                  <c:v>0</c:v>
                </c:pt>
                <c:pt idx="15">
                  <c:v>1</c:v>
                </c:pt>
                <c:pt idx="16">
                  <c:v>0</c:v>
                </c:pt>
                <c:pt idx="17">
                  <c:v>8</c:v>
                </c:pt>
                <c:pt idx="18">
                  <c:v>0</c:v>
                </c:pt>
                <c:pt idx="19">
                  <c:v>0</c:v>
                </c:pt>
                <c:pt idx="20">
                  <c:v>6</c:v>
                </c:pt>
                <c:pt idx="21">
                  <c:v>0</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C$2:$C$23</c:f>
              <c:numCache>
                <c:formatCode>General</c:formatCode>
                <c:ptCount val="22"/>
                <c:pt idx="0">
                  <c:v>1.1399999999999999</c:v>
                </c:pt>
                <c:pt idx="1">
                  <c:v>2.15</c:v>
                </c:pt>
                <c:pt idx="2">
                  <c:v>4.46</c:v>
                </c:pt>
                <c:pt idx="3">
                  <c:v>4</c:v>
                </c:pt>
                <c:pt idx="4">
                  <c:v>3.95</c:v>
                </c:pt>
                <c:pt idx="5">
                  <c:v>6.9</c:v>
                </c:pt>
                <c:pt idx="6">
                  <c:v>7.58</c:v>
                </c:pt>
                <c:pt idx="7">
                  <c:v>8.27</c:v>
                </c:pt>
                <c:pt idx="8">
                  <c:v>10.92</c:v>
                </c:pt>
                <c:pt idx="9">
                  <c:v>18.79</c:v>
                </c:pt>
                <c:pt idx="10">
                  <c:v>15.11</c:v>
                </c:pt>
                <c:pt idx="11">
                  <c:v>16.61</c:v>
                </c:pt>
                <c:pt idx="12">
                  <c:v>39</c:v>
                </c:pt>
                <c:pt idx="13">
                  <c:v>38.69</c:v>
                </c:pt>
                <c:pt idx="14">
                  <c:v>34.56</c:v>
                </c:pt>
                <c:pt idx="15">
                  <c:v>22.36</c:v>
                </c:pt>
                <c:pt idx="16">
                  <c:v>35.590000000000003</c:v>
                </c:pt>
                <c:pt idx="17">
                  <c:v>22.95</c:v>
                </c:pt>
                <c:pt idx="18">
                  <c:v>45.5</c:v>
                </c:pt>
                <c:pt idx="19">
                  <c:v>101.71</c:v>
                </c:pt>
                <c:pt idx="20">
                  <c:v>96.37</c:v>
                </c:pt>
                <c:pt idx="21">
                  <c:v>144.0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D$2:$D$23</c:f>
              <c:numCache>
                <c:formatCode>General</c:formatCode>
                <c:ptCount val="22"/>
                <c:pt idx="0">
                  <c:v>1.28</c:v>
                </c:pt>
                <c:pt idx="1">
                  <c:v>1.78</c:v>
                </c:pt>
                <c:pt idx="2">
                  <c:v>3.46</c:v>
                </c:pt>
                <c:pt idx="3">
                  <c:v>3.85</c:v>
                </c:pt>
                <c:pt idx="4">
                  <c:v>3.95</c:v>
                </c:pt>
                <c:pt idx="5">
                  <c:v>4.05</c:v>
                </c:pt>
                <c:pt idx="6">
                  <c:v>4.84</c:v>
                </c:pt>
                <c:pt idx="7">
                  <c:v>8.89</c:v>
                </c:pt>
                <c:pt idx="8">
                  <c:v>9.8800000000000008</c:v>
                </c:pt>
                <c:pt idx="9">
                  <c:v>11.85</c:v>
                </c:pt>
                <c:pt idx="10">
                  <c:v>12.24</c:v>
                </c:pt>
                <c:pt idx="11">
                  <c:v>14.22</c:v>
                </c:pt>
                <c:pt idx="12">
                  <c:v>21.23</c:v>
                </c:pt>
                <c:pt idx="13">
                  <c:v>24.29</c:v>
                </c:pt>
                <c:pt idx="14">
                  <c:v>24.59</c:v>
                </c:pt>
                <c:pt idx="15">
                  <c:v>26.37</c:v>
                </c:pt>
                <c:pt idx="16">
                  <c:v>28.54</c:v>
                </c:pt>
                <c:pt idx="17">
                  <c:v>30.12</c:v>
                </c:pt>
                <c:pt idx="18">
                  <c:v>42.66</c:v>
                </c:pt>
                <c:pt idx="19">
                  <c:v>92.43</c:v>
                </c:pt>
                <c:pt idx="20">
                  <c:v>94.8</c:v>
                </c:pt>
                <c:pt idx="21">
                  <c:v>11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rPr lang="en-US"/>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rPr lang="en-US"/>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E$2:$E$23</c:f>
              <c:numCache>
                <c:formatCode>General</c:formatCode>
                <c:ptCount val="22"/>
                <c:pt idx="0">
                  <c:v>1.21</c:v>
                </c:pt>
                <c:pt idx="1">
                  <c:v>1.9649999999999999</c:v>
                </c:pt>
                <c:pt idx="2">
                  <c:v>3.96</c:v>
                </c:pt>
                <c:pt idx="3">
                  <c:v>3.9249999999999998</c:v>
                </c:pt>
                <c:pt idx="4">
                  <c:v>3.95</c:v>
                </c:pt>
                <c:pt idx="5">
                  <c:v>5.4749999999999996</c:v>
                </c:pt>
                <c:pt idx="6">
                  <c:v>6.21</c:v>
                </c:pt>
                <c:pt idx="7">
                  <c:v>8.58</c:v>
                </c:pt>
                <c:pt idx="8">
                  <c:v>10.4</c:v>
                </c:pt>
                <c:pt idx="9">
                  <c:v>15.32</c:v>
                </c:pt>
                <c:pt idx="10">
                  <c:v>13.675000000000001</c:v>
                </c:pt>
                <c:pt idx="11">
                  <c:v>15.414999999999999</c:v>
                </c:pt>
                <c:pt idx="12">
                  <c:v>30.115000000000002</c:v>
                </c:pt>
                <c:pt idx="13">
                  <c:v>31.49</c:v>
                </c:pt>
                <c:pt idx="14">
                  <c:v>29.575000000000003</c:v>
                </c:pt>
                <c:pt idx="15">
                  <c:v>24.365000000000002</c:v>
                </c:pt>
                <c:pt idx="16">
                  <c:v>32.064999999999998</c:v>
                </c:pt>
                <c:pt idx="17">
                  <c:v>26.535</c:v>
                </c:pt>
                <c:pt idx="18">
                  <c:v>44.08</c:v>
                </c:pt>
                <c:pt idx="19">
                  <c:v>97.07</c:v>
                </c:pt>
                <c:pt idx="20">
                  <c:v>95.585000000000008</c:v>
                </c:pt>
                <c:pt idx="21">
                  <c:v>131.2699999999999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scaling>
        <c:delete val="0"/>
        <c:axPos val="r"/>
        <c:numFmt formatCode="General"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B$2:$B$23</c:f>
              <c:numCache>
                <c:formatCode>General</c:formatCode>
                <c:ptCount val="22"/>
                <c:pt idx="0">
                  <c:v>13</c:v>
                </c:pt>
                <c:pt idx="1">
                  <c:v>1</c:v>
                </c:pt>
                <c:pt idx="2">
                  <c:v>5</c:v>
                </c:pt>
                <c:pt idx="3">
                  <c:v>14</c:v>
                </c:pt>
                <c:pt idx="4">
                  <c:v>123</c:v>
                </c:pt>
                <c:pt idx="5">
                  <c:v>0</c:v>
                </c:pt>
                <c:pt idx="6">
                  <c:v>0</c:v>
                </c:pt>
                <c:pt idx="7">
                  <c:v>0</c:v>
                </c:pt>
                <c:pt idx="8">
                  <c:v>13</c:v>
                </c:pt>
                <c:pt idx="9">
                  <c:v>0</c:v>
                </c:pt>
                <c:pt idx="10">
                  <c:v>0</c:v>
                </c:pt>
                <c:pt idx="11">
                  <c:v>0</c:v>
                </c:pt>
                <c:pt idx="12">
                  <c:v>0</c:v>
                </c:pt>
                <c:pt idx="13">
                  <c:v>0</c:v>
                </c:pt>
                <c:pt idx="14">
                  <c:v>0</c:v>
                </c:pt>
                <c:pt idx="15">
                  <c:v>1</c:v>
                </c:pt>
                <c:pt idx="16">
                  <c:v>0</c:v>
                </c:pt>
                <c:pt idx="17">
                  <c:v>8</c:v>
                </c:pt>
                <c:pt idx="18">
                  <c:v>0</c:v>
                </c:pt>
                <c:pt idx="19">
                  <c:v>0</c:v>
                </c:pt>
                <c:pt idx="20">
                  <c:v>6</c:v>
                </c:pt>
                <c:pt idx="21">
                  <c:v>0</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C$2:$C$23</c:f>
              <c:numCache>
                <c:formatCode>General</c:formatCode>
                <c:ptCount val="22"/>
                <c:pt idx="0">
                  <c:v>1.1399999999999999</c:v>
                </c:pt>
                <c:pt idx="1">
                  <c:v>2.15</c:v>
                </c:pt>
                <c:pt idx="2">
                  <c:v>4.46</c:v>
                </c:pt>
                <c:pt idx="3">
                  <c:v>4</c:v>
                </c:pt>
                <c:pt idx="4">
                  <c:v>3.95</c:v>
                </c:pt>
                <c:pt idx="5">
                  <c:v>6.9</c:v>
                </c:pt>
                <c:pt idx="6">
                  <c:v>7.58</c:v>
                </c:pt>
                <c:pt idx="7">
                  <c:v>8.27</c:v>
                </c:pt>
                <c:pt idx="8">
                  <c:v>10.92</c:v>
                </c:pt>
                <c:pt idx="9">
                  <c:v>18.79</c:v>
                </c:pt>
                <c:pt idx="10">
                  <c:v>15.11</c:v>
                </c:pt>
                <c:pt idx="11">
                  <c:v>16.61</c:v>
                </c:pt>
                <c:pt idx="12">
                  <c:v>39</c:v>
                </c:pt>
                <c:pt idx="13">
                  <c:v>38.69</c:v>
                </c:pt>
                <c:pt idx="14">
                  <c:v>34.56</c:v>
                </c:pt>
                <c:pt idx="15">
                  <c:v>22.36</c:v>
                </c:pt>
                <c:pt idx="16">
                  <c:v>35.590000000000003</c:v>
                </c:pt>
                <c:pt idx="17">
                  <c:v>22.95</c:v>
                </c:pt>
                <c:pt idx="18">
                  <c:v>45.5</c:v>
                </c:pt>
                <c:pt idx="19">
                  <c:v>101.71</c:v>
                </c:pt>
                <c:pt idx="20">
                  <c:v>96.37</c:v>
                </c:pt>
                <c:pt idx="21">
                  <c:v>144.0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D$2:$D$23</c:f>
              <c:numCache>
                <c:formatCode>General</c:formatCode>
                <c:ptCount val="22"/>
                <c:pt idx="0">
                  <c:v>1.28</c:v>
                </c:pt>
                <c:pt idx="1">
                  <c:v>1.78</c:v>
                </c:pt>
                <c:pt idx="2">
                  <c:v>3.46</c:v>
                </c:pt>
                <c:pt idx="3">
                  <c:v>3.85</c:v>
                </c:pt>
                <c:pt idx="4">
                  <c:v>3.95</c:v>
                </c:pt>
                <c:pt idx="5">
                  <c:v>4.05</c:v>
                </c:pt>
                <c:pt idx="6">
                  <c:v>4.84</c:v>
                </c:pt>
                <c:pt idx="7">
                  <c:v>8.89</c:v>
                </c:pt>
                <c:pt idx="8">
                  <c:v>9.8800000000000008</c:v>
                </c:pt>
                <c:pt idx="9">
                  <c:v>11.85</c:v>
                </c:pt>
                <c:pt idx="10">
                  <c:v>12.24</c:v>
                </c:pt>
                <c:pt idx="11">
                  <c:v>14.22</c:v>
                </c:pt>
                <c:pt idx="12">
                  <c:v>21.23</c:v>
                </c:pt>
                <c:pt idx="13">
                  <c:v>24.29</c:v>
                </c:pt>
                <c:pt idx="14">
                  <c:v>24.59</c:v>
                </c:pt>
                <c:pt idx="15">
                  <c:v>26.37</c:v>
                </c:pt>
                <c:pt idx="16">
                  <c:v>28.54</c:v>
                </c:pt>
                <c:pt idx="17">
                  <c:v>30.12</c:v>
                </c:pt>
                <c:pt idx="18">
                  <c:v>42.66</c:v>
                </c:pt>
                <c:pt idx="19">
                  <c:v>92.43</c:v>
                </c:pt>
                <c:pt idx="20">
                  <c:v>94.8</c:v>
                </c:pt>
                <c:pt idx="21">
                  <c:v>11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rPr lang="en-US"/>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rPr lang="en-US"/>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E$2:$E$23</c:f>
              <c:numCache>
                <c:formatCode>General</c:formatCode>
                <c:ptCount val="22"/>
                <c:pt idx="0">
                  <c:v>1.21</c:v>
                </c:pt>
                <c:pt idx="1">
                  <c:v>1.9649999999999999</c:v>
                </c:pt>
                <c:pt idx="2">
                  <c:v>3.96</c:v>
                </c:pt>
                <c:pt idx="3">
                  <c:v>3.9249999999999998</c:v>
                </c:pt>
                <c:pt idx="4">
                  <c:v>3.95</c:v>
                </c:pt>
                <c:pt idx="5">
                  <c:v>5.4749999999999996</c:v>
                </c:pt>
                <c:pt idx="6">
                  <c:v>6.21</c:v>
                </c:pt>
                <c:pt idx="7">
                  <c:v>8.58</c:v>
                </c:pt>
                <c:pt idx="8">
                  <c:v>10.4</c:v>
                </c:pt>
                <c:pt idx="9">
                  <c:v>15.32</c:v>
                </c:pt>
                <c:pt idx="10">
                  <c:v>13.675000000000001</c:v>
                </c:pt>
                <c:pt idx="11">
                  <c:v>15.414999999999999</c:v>
                </c:pt>
                <c:pt idx="12">
                  <c:v>30.115000000000002</c:v>
                </c:pt>
                <c:pt idx="13">
                  <c:v>31.49</c:v>
                </c:pt>
                <c:pt idx="14">
                  <c:v>29.575000000000003</c:v>
                </c:pt>
                <c:pt idx="15">
                  <c:v>24.365000000000002</c:v>
                </c:pt>
                <c:pt idx="16">
                  <c:v>32.064999999999998</c:v>
                </c:pt>
                <c:pt idx="17">
                  <c:v>26.535</c:v>
                </c:pt>
                <c:pt idx="18">
                  <c:v>44.08</c:v>
                </c:pt>
                <c:pt idx="19">
                  <c:v>97.07</c:v>
                </c:pt>
                <c:pt idx="20">
                  <c:v>95.585000000000008</c:v>
                </c:pt>
                <c:pt idx="21">
                  <c:v>131.2699999999999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scaling>
        <c:delete val="0"/>
        <c:axPos val="r"/>
        <c:numFmt formatCode="General"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B$2:$B$23</c:f>
              <c:numCache>
                <c:formatCode>General</c:formatCode>
                <c:ptCount val="22"/>
                <c:pt idx="0">
                  <c:v>13</c:v>
                </c:pt>
                <c:pt idx="1">
                  <c:v>1</c:v>
                </c:pt>
                <c:pt idx="2">
                  <c:v>5</c:v>
                </c:pt>
                <c:pt idx="3">
                  <c:v>14</c:v>
                </c:pt>
                <c:pt idx="4">
                  <c:v>123</c:v>
                </c:pt>
                <c:pt idx="5">
                  <c:v>0</c:v>
                </c:pt>
                <c:pt idx="6">
                  <c:v>0</c:v>
                </c:pt>
                <c:pt idx="7">
                  <c:v>0</c:v>
                </c:pt>
                <c:pt idx="8">
                  <c:v>13</c:v>
                </c:pt>
                <c:pt idx="9">
                  <c:v>0</c:v>
                </c:pt>
                <c:pt idx="10">
                  <c:v>0</c:v>
                </c:pt>
                <c:pt idx="11">
                  <c:v>0</c:v>
                </c:pt>
                <c:pt idx="12">
                  <c:v>0</c:v>
                </c:pt>
                <c:pt idx="13">
                  <c:v>0</c:v>
                </c:pt>
                <c:pt idx="14">
                  <c:v>0</c:v>
                </c:pt>
                <c:pt idx="15">
                  <c:v>1</c:v>
                </c:pt>
                <c:pt idx="16">
                  <c:v>0</c:v>
                </c:pt>
                <c:pt idx="17">
                  <c:v>8</c:v>
                </c:pt>
                <c:pt idx="18">
                  <c:v>0</c:v>
                </c:pt>
                <c:pt idx="19">
                  <c:v>0</c:v>
                </c:pt>
                <c:pt idx="20">
                  <c:v>6</c:v>
                </c:pt>
                <c:pt idx="21">
                  <c:v>0</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C$2:$C$23</c:f>
              <c:numCache>
                <c:formatCode>General</c:formatCode>
                <c:ptCount val="22"/>
                <c:pt idx="0">
                  <c:v>1.1399999999999999</c:v>
                </c:pt>
                <c:pt idx="1">
                  <c:v>2.15</c:v>
                </c:pt>
                <c:pt idx="2">
                  <c:v>4.46</c:v>
                </c:pt>
                <c:pt idx="3">
                  <c:v>4</c:v>
                </c:pt>
                <c:pt idx="4">
                  <c:v>3.95</c:v>
                </c:pt>
                <c:pt idx="5">
                  <c:v>6.9</c:v>
                </c:pt>
                <c:pt idx="6">
                  <c:v>7.58</c:v>
                </c:pt>
                <c:pt idx="7">
                  <c:v>8.27</c:v>
                </c:pt>
                <c:pt idx="8">
                  <c:v>10.92</c:v>
                </c:pt>
                <c:pt idx="9">
                  <c:v>18.79</c:v>
                </c:pt>
                <c:pt idx="10">
                  <c:v>15.11</c:v>
                </c:pt>
                <c:pt idx="11">
                  <c:v>16.61</c:v>
                </c:pt>
                <c:pt idx="12">
                  <c:v>39</c:v>
                </c:pt>
                <c:pt idx="13">
                  <c:v>38.69</c:v>
                </c:pt>
                <c:pt idx="14">
                  <c:v>34.56</c:v>
                </c:pt>
                <c:pt idx="15">
                  <c:v>22.36</c:v>
                </c:pt>
                <c:pt idx="16">
                  <c:v>35.590000000000003</c:v>
                </c:pt>
                <c:pt idx="17">
                  <c:v>22.95</c:v>
                </c:pt>
                <c:pt idx="18">
                  <c:v>45.5</c:v>
                </c:pt>
                <c:pt idx="19">
                  <c:v>101.71</c:v>
                </c:pt>
                <c:pt idx="20">
                  <c:v>96.37</c:v>
                </c:pt>
                <c:pt idx="21">
                  <c:v>144.0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D$2:$D$23</c:f>
              <c:numCache>
                <c:formatCode>General</c:formatCode>
                <c:ptCount val="22"/>
                <c:pt idx="0">
                  <c:v>1.28</c:v>
                </c:pt>
                <c:pt idx="1">
                  <c:v>1.78</c:v>
                </c:pt>
                <c:pt idx="2">
                  <c:v>3.46</c:v>
                </c:pt>
                <c:pt idx="3">
                  <c:v>3.85</c:v>
                </c:pt>
                <c:pt idx="4">
                  <c:v>3.95</c:v>
                </c:pt>
                <c:pt idx="5">
                  <c:v>4.05</c:v>
                </c:pt>
                <c:pt idx="6">
                  <c:v>4.84</c:v>
                </c:pt>
                <c:pt idx="7">
                  <c:v>8.89</c:v>
                </c:pt>
                <c:pt idx="8">
                  <c:v>9.8800000000000008</c:v>
                </c:pt>
                <c:pt idx="9">
                  <c:v>11.85</c:v>
                </c:pt>
                <c:pt idx="10">
                  <c:v>12.24</c:v>
                </c:pt>
                <c:pt idx="11">
                  <c:v>14.22</c:v>
                </c:pt>
                <c:pt idx="12">
                  <c:v>21.23</c:v>
                </c:pt>
                <c:pt idx="13">
                  <c:v>24.29</c:v>
                </c:pt>
                <c:pt idx="14">
                  <c:v>24.59</c:v>
                </c:pt>
                <c:pt idx="15">
                  <c:v>26.37</c:v>
                </c:pt>
                <c:pt idx="16">
                  <c:v>28.54</c:v>
                </c:pt>
                <c:pt idx="17">
                  <c:v>30.12</c:v>
                </c:pt>
                <c:pt idx="18">
                  <c:v>42.66</c:v>
                </c:pt>
                <c:pt idx="19">
                  <c:v>92.43</c:v>
                </c:pt>
                <c:pt idx="20">
                  <c:v>94.8</c:v>
                </c:pt>
                <c:pt idx="21">
                  <c:v>11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rPr lang="en-US"/>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rPr lang="en-US"/>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E$2:$E$23</c:f>
              <c:numCache>
                <c:formatCode>General</c:formatCode>
                <c:ptCount val="22"/>
                <c:pt idx="0">
                  <c:v>1.21</c:v>
                </c:pt>
                <c:pt idx="1">
                  <c:v>1.9649999999999999</c:v>
                </c:pt>
                <c:pt idx="2">
                  <c:v>3.96</c:v>
                </c:pt>
                <c:pt idx="3">
                  <c:v>3.9249999999999998</c:v>
                </c:pt>
                <c:pt idx="4">
                  <c:v>3.95</c:v>
                </c:pt>
                <c:pt idx="5">
                  <c:v>5.4749999999999996</c:v>
                </c:pt>
                <c:pt idx="6">
                  <c:v>6.21</c:v>
                </c:pt>
                <c:pt idx="7">
                  <c:v>8.58</c:v>
                </c:pt>
                <c:pt idx="8">
                  <c:v>10.4</c:v>
                </c:pt>
                <c:pt idx="9">
                  <c:v>15.32</c:v>
                </c:pt>
                <c:pt idx="10">
                  <c:v>13.675000000000001</c:v>
                </c:pt>
                <c:pt idx="11">
                  <c:v>15.414999999999999</c:v>
                </c:pt>
                <c:pt idx="12">
                  <c:v>30.115000000000002</c:v>
                </c:pt>
                <c:pt idx="13">
                  <c:v>31.49</c:v>
                </c:pt>
                <c:pt idx="14">
                  <c:v>29.575000000000003</c:v>
                </c:pt>
                <c:pt idx="15">
                  <c:v>24.365000000000002</c:v>
                </c:pt>
                <c:pt idx="16">
                  <c:v>32.064999999999998</c:v>
                </c:pt>
                <c:pt idx="17">
                  <c:v>26.535</c:v>
                </c:pt>
                <c:pt idx="18">
                  <c:v>44.08</c:v>
                </c:pt>
                <c:pt idx="19">
                  <c:v>97.07</c:v>
                </c:pt>
                <c:pt idx="20">
                  <c:v>95.585000000000008</c:v>
                </c:pt>
                <c:pt idx="21">
                  <c:v>131.2699999999999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scaling>
        <c:delete val="0"/>
        <c:axPos val="r"/>
        <c:numFmt formatCode="General"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B$2:$B$23</c:f>
              <c:numCache>
                <c:formatCode>General</c:formatCode>
                <c:ptCount val="22"/>
                <c:pt idx="0">
                  <c:v>13</c:v>
                </c:pt>
                <c:pt idx="1">
                  <c:v>1</c:v>
                </c:pt>
                <c:pt idx="2">
                  <c:v>5</c:v>
                </c:pt>
                <c:pt idx="3">
                  <c:v>14</c:v>
                </c:pt>
                <c:pt idx="4">
                  <c:v>123</c:v>
                </c:pt>
                <c:pt idx="5">
                  <c:v>0</c:v>
                </c:pt>
                <c:pt idx="6">
                  <c:v>0</c:v>
                </c:pt>
                <c:pt idx="7">
                  <c:v>0</c:v>
                </c:pt>
                <c:pt idx="8">
                  <c:v>13</c:v>
                </c:pt>
                <c:pt idx="9">
                  <c:v>0</c:v>
                </c:pt>
                <c:pt idx="10">
                  <c:v>0</c:v>
                </c:pt>
                <c:pt idx="11">
                  <c:v>0</c:v>
                </c:pt>
                <c:pt idx="12">
                  <c:v>0</c:v>
                </c:pt>
                <c:pt idx="13">
                  <c:v>0</c:v>
                </c:pt>
                <c:pt idx="14">
                  <c:v>0</c:v>
                </c:pt>
                <c:pt idx="15">
                  <c:v>1</c:v>
                </c:pt>
                <c:pt idx="16">
                  <c:v>0</c:v>
                </c:pt>
                <c:pt idx="17">
                  <c:v>8</c:v>
                </c:pt>
                <c:pt idx="18">
                  <c:v>0</c:v>
                </c:pt>
                <c:pt idx="19">
                  <c:v>0</c:v>
                </c:pt>
                <c:pt idx="20">
                  <c:v>6</c:v>
                </c:pt>
                <c:pt idx="21">
                  <c:v>0</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C$2:$C$23</c:f>
              <c:numCache>
                <c:formatCode>General</c:formatCode>
                <c:ptCount val="22"/>
                <c:pt idx="0">
                  <c:v>1.1399999999999999</c:v>
                </c:pt>
                <c:pt idx="1">
                  <c:v>2.15</c:v>
                </c:pt>
                <c:pt idx="2">
                  <c:v>4.46</c:v>
                </c:pt>
                <c:pt idx="3">
                  <c:v>4</c:v>
                </c:pt>
                <c:pt idx="4">
                  <c:v>3.95</c:v>
                </c:pt>
                <c:pt idx="5">
                  <c:v>6.9</c:v>
                </c:pt>
                <c:pt idx="6">
                  <c:v>7.58</c:v>
                </c:pt>
                <c:pt idx="7">
                  <c:v>8.27</c:v>
                </c:pt>
                <c:pt idx="8">
                  <c:v>10.92</c:v>
                </c:pt>
                <c:pt idx="9">
                  <c:v>18.79</c:v>
                </c:pt>
                <c:pt idx="10">
                  <c:v>15.11</c:v>
                </c:pt>
                <c:pt idx="11">
                  <c:v>16.61</c:v>
                </c:pt>
                <c:pt idx="12">
                  <c:v>39</c:v>
                </c:pt>
                <c:pt idx="13">
                  <c:v>38.69</c:v>
                </c:pt>
                <c:pt idx="14">
                  <c:v>34.56</c:v>
                </c:pt>
                <c:pt idx="15">
                  <c:v>22.36</c:v>
                </c:pt>
                <c:pt idx="16">
                  <c:v>35.590000000000003</c:v>
                </c:pt>
                <c:pt idx="17">
                  <c:v>22.95</c:v>
                </c:pt>
                <c:pt idx="18">
                  <c:v>45.5</c:v>
                </c:pt>
                <c:pt idx="19">
                  <c:v>101.71</c:v>
                </c:pt>
                <c:pt idx="20">
                  <c:v>96.37</c:v>
                </c:pt>
                <c:pt idx="21">
                  <c:v>144.0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D$2:$D$23</c:f>
              <c:numCache>
                <c:formatCode>General</c:formatCode>
                <c:ptCount val="22"/>
                <c:pt idx="0">
                  <c:v>1.28</c:v>
                </c:pt>
                <c:pt idx="1">
                  <c:v>1.78</c:v>
                </c:pt>
                <c:pt idx="2">
                  <c:v>3.46</c:v>
                </c:pt>
                <c:pt idx="3">
                  <c:v>3.85</c:v>
                </c:pt>
                <c:pt idx="4">
                  <c:v>3.95</c:v>
                </c:pt>
                <c:pt idx="5">
                  <c:v>4.05</c:v>
                </c:pt>
                <c:pt idx="6">
                  <c:v>4.84</c:v>
                </c:pt>
                <c:pt idx="7">
                  <c:v>8.89</c:v>
                </c:pt>
                <c:pt idx="8">
                  <c:v>9.8800000000000008</c:v>
                </c:pt>
                <c:pt idx="9">
                  <c:v>11.85</c:v>
                </c:pt>
                <c:pt idx="10">
                  <c:v>12.24</c:v>
                </c:pt>
                <c:pt idx="11">
                  <c:v>14.22</c:v>
                </c:pt>
                <c:pt idx="12">
                  <c:v>21.23</c:v>
                </c:pt>
                <c:pt idx="13">
                  <c:v>24.29</c:v>
                </c:pt>
                <c:pt idx="14">
                  <c:v>24.59</c:v>
                </c:pt>
                <c:pt idx="15">
                  <c:v>26.37</c:v>
                </c:pt>
                <c:pt idx="16">
                  <c:v>28.54</c:v>
                </c:pt>
                <c:pt idx="17">
                  <c:v>30.12</c:v>
                </c:pt>
                <c:pt idx="18">
                  <c:v>42.66</c:v>
                </c:pt>
                <c:pt idx="19">
                  <c:v>92.43</c:v>
                </c:pt>
                <c:pt idx="20">
                  <c:v>94.8</c:v>
                </c:pt>
                <c:pt idx="21">
                  <c:v>11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rPr lang="en-US"/>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rPr lang="en-US"/>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E$2:$E$23</c:f>
              <c:numCache>
                <c:formatCode>General</c:formatCode>
                <c:ptCount val="22"/>
                <c:pt idx="0">
                  <c:v>1.21</c:v>
                </c:pt>
                <c:pt idx="1">
                  <c:v>1.9649999999999999</c:v>
                </c:pt>
                <c:pt idx="2">
                  <c:v>3.96</c:v>
                </c:pt>
                <c:pt idx="3">
                  <c:v>3.9249999999999998</c:v>
                </c:pt>
                <c:pt idx="4">
                  <c:v>3.95</c:v>
                </c:pt>
                <c:pt idx="5">
                  <c:v>5.4749999999999996</c:v>
                </c:pt>
                <c:pt idx="6">
                  <c:v>6.21</c:v>
                </c:pt>
                <c:pt idx="7">
                  <c:v>8.58</c:v>
                </c:pt>
                <c:pt idx="8">
                  <c:v>10.4</c:v>
                </c:pt>
                <c:pt idx="9">
                  <c:v>15.32</c:v>
                </c:pt>
                <c:pt idx="10">
                  <c:v>13.675000000000001</c:v>
                </c:pt>
                <c:pt idx="11">
                  <c:v>15.414999999999999</c:v>
                </c:pt>
                <c:pt idx="12">
                  <c:v>30.115000000000002</c:v>
                </c:pt>
                <c:pt idx="13">
                  <c:v>31.49</c:v>
                </c:pt>
                <c:pt idx="14">
                  <c:v>29.575000000000003</c:v>
                </c:pt>
                <c:pt idx="15">
                  <c:v>24.365000000000002</c:v>
                </c:pt>
                <c:pt idx="16">
                  <c:v>32.064999999999998</c:v>
                </c:pt>
                <c:pt idx="17">
                  <c:v>26.535</c:v>
                </c:pt>
                <c:pt idx="18">
                  <c:v>44.08</c:v>
                </c:pt>
                <c:pt idx="19">
                  <c:v>97.07</c:v>
                </c:pt>
                <c:pt idx="20">
                  <c:v>95.585000000000008</c:v>
                </c:pt>
                <c:pt idx="21">
                  <c:v>131.2699999999999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scaling>
        <c:delete val="0"/>
        <c:axPos val="r"/>
        <c:numFmt formatCode="General"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B$2:$B$23</c:f>
              <c:numCache>
                <c:formatCode>General</c:formatCode>
                <c:ptCount val="22"/>
                <c:pt idx="0">
                  <c:v>13</c:v>
                </c:pt>
                <c:pt idx="1">
                  <c:v>1</c:v>
                </c:pt>
                <c:pt idx="2">
                  <c:v>5</c:v>
                </c:pt>
                <c:pt idx="3">
                  <c:v>14</c:v>
                </c:pt>
                <c:pt idx="4">
                  <c:v>123</c:v>
                </c:pt>
                <c:pt idx="5">
                  <c:v>0</c:v>
                </c:pt>
                <c:pt idx="6">
                  <c:v>0</c:v>
                </c:pt>
                <c:pt idx="7">
                  <c:v>0</c:v>
                </c:pt>
                <c:pt idx="8">
                  <c:v>13</c:v>
                </c:pt>
                <c:pt idx="9">
                  <c:v>0</c:v>
                </c:pt>
                <c:pt idx="10">
                  <c:v>0</c:v>
                </c:pt>
                <c:pt idx="11">
                  <c:v>0</c:v>
                </c:pt>
                <c:pt idx="12">
                  <c:v>0</c:v>
                </c:pt>
                <c:pt idx="13">
                  <c:v>0</c:v>
                </c:pt>
                <c:pt idx="14">
                  <c:v>0</c:v>
                </c:pt>
                <c:pt idx="15">
                  <c:v>1</c:v>
                </c:pt>
                <c:pt idx="16">
                  <c:v>0</c:v>
                </c:pt>
                <c:pt idx="17">
                  <c:v>8</c:v>
                </c:pt>
                <c:pt idx="18">
                  <c:v>0</c:v>
                </c:pt>
                <c:pt idx="19">
                  <c:v>0</c:v>
                </c:pt>
                <c:pt idx="20">
                  <c:v>6</c:v>
                </c:pt>
                <c:pt idx="21">
                  <c:v>0</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C$2:$C$23</c:f>
              <c:numCache>
                <c:formatCode>General</c:formatCode>
                <c:ptCount val="22"/>
                <c:pt idx="0">
                  <c:v>1.1399999999999999</c:v>
                </c:pt>
                <c:pt idx="1">
                  <c:v>2.15</c:v>
                </c:pt>
                <c:pt idx="2">
                  <c:v>4.46</c:v>
                </c:pt>
                <c:pt idx="3">
                  <c:v>4</c:v>
                </c:pt>
                <c:pt idx="4">
                  <c:v>3.95</c:v>
                </c:pt>
                <c:pt idx="5">
                  <c:v>6.9</c:v>
                </c:pt>
                <c:pt idx="6">
                  <c:v>7.58</c:v>
                </c:pt>
                <c:pt idx="7">
                  <c:v>8.27</c:v>
                </c:pt>
                <c:pt idx="8">
                  <c:v>10.92</c:v>
                </c:pt>
                <c:pt idx="9">
                  <c:v>18.79</c:v>
                </c:pt>
                <c:pt idx="10">
                  <c:v>15.11</c:v>
                </c:pt>
                <c:pt idx="11">
                  <c:v>16.61</c:v>
                </c:pt>
                <c:pt idx="12">
                  <c:v>39</c:v>
                </c:pt>
                <c:pt idx="13">
                  <c:v>38.69</c:v>
                </c:pt>
                <c:pt idx="14">
                  <c:v>34.56</c:v>
                </c:pt>
                <c:pt idx="15">
                  <c:v>22.36</c:v>
                </c:pt>
                <c:pt idx="16">
                  <c:v>35.590000000000003</c:v>
                </c:pt>
                <c:pt idx="17">
                  <c:v>22.95</c:v>
                </c:pt>
                <c:pt idx="18">
                  <c:v>45.5</c:v>
                </c:pt>
                <c:pt idx="19">
                  <c:v>101.71</c:v>
                </c:pt>
                <c:pt idx="20">
                  <c:v>96.37</c:v>
                </c:pt>
                <c:pt idx="21">
                  <c:v>144.0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D$2:$D$23</c:f>
              <c:numCache>
                <c:formatCode>General</c:formatCode>
                <c:ptCount val="22"/>
                <c:pt idx="0">
                  <c:v>1.28</c:v>
                </c:pt>
                <c:pt idx="1">
                  <c:v>1.78</c:v>
                </c:pt>
                <c:pt idx="2">
                  <c:v>3.46</c:v>
                </c:pt>
                <c:pt idx="3">
                  <c:v>3.85</c:v>
                </c:pt>
                <c:pt idx="4">
                  <c:v>3.95</c:v>
                </c:pt>
                <c:pt idx="5">
                  <c:v>4.05</c:v>
                </c:pt>
                <c:pt idx="6">
                  <c:v>4.84</c:v>
                </c:pt>
                <c:pt idx="7">
                  <c:v>8.89</c:v>
                </c:pt>
                <c:pt idx="8">
                  <c:v>9.8800000000000008</c:v>
                </c:pt>
                <c:pt idx="9">
                  <c:v>11.85</c:v>
                </c:pt>
                <c:pt idx="10">
                  <c:v>12.24</c:v>
                </c:pt>
                <c:pt idx="11">
                  <c:v>14.22</c:v>
                </c:pt>
                <c:pt idx="12">
                  <c:v>21.23</c:v>
                </c:pt>
                <c:pt idx="13">
                  <c:v>24.29</c:v>
                </c:pt>
                <c:pt idx="14">
                  <c:v>24.59</c:v>
                </c:pt>
                <c:pt idx="15">
                  <c:v>26.37</c:v>
                </c:pt>
                <c:pt idx="16">
                  <c:v>28.54</c:v>
                </c:pt>
                <c:pt idx="17">
                  <c:v>30.12</c:v>
                </c:pt>
                <c:pt idx="18">
                  <c:v>42.66</c:v>
                </c:pt>
                <c:pt idx="19">
                  <c:v>92.43</c:v>
                </c:pt>
                <c:pt idx="20">
                  <c:v>94.8</c:v>
                </c:pt>
                <c:pt idx="21">
                  <c:v>11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rPr lang="en-US"/>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rPr lang="en-US"/>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E$2:$E$23</c:f>
              <c:numCache>
                <c:formatCode>General</c:formatCode>
                <c:ptCount val="22"/>
                <c:pt idx="0">
                  <c:v>1.21</c:v>
                </c:pt>
                <c:pt idx="1">
                  <c:v>1.9649999999999999</c:v>
                </c:pt>
                <c:pt idx="2">
                  <c:v>3.96</c:v>
                </c:pt>
                <c:pt idx="3">
                  <c:v>3.9249999999999998</c:v>
                </c:pt>
                <c:pt idx="4">
                  <c:v>3.95</c:v>
                </c:pt>
                <c:pt idx="5">
                  <c:v>5.4749999999999996</c:v>
                </c:pt>
                <c:pt idx="6">
                  <c:v>6.21</c:v>
                </c:pt>
                <c:pt idx="7">
                  <c:v>8.58</c:v>
                </c:pt>
                <c:pt idx="8">
                  <c:v>10.4</c:v>
                </c:pt>
                <c:pt idx="9">
                  <c:v>15.32</c:v>
                </c:pt>
                <c:pt idx="10">
                  <c:v>13.675000000000001</c:v>
                </c:pt>
                <c:pt idx="11">
                  <c:v>15.414999999999999</c:v>
                </c:pt>
                <c:pt idx="12">
                  <c:v>30.115000000000002</c:v>
                </c:pt>
                <c:pt idx="13">
                  <c:v>31.49</c:v>
                </c:pt>
                <c:pt idx="14">
                  <c:v>29.575000000000003</c:v>
                </c:pt>
                <c:pt idx="15">
                  <c:v>24.365000000000002</c:v>
                </c:pt>
                <c:pt idx="16">
                  <c:v>32.064999999999998</c:v>
                </c:pt>
                <c:pt idx="17">
                  <c:v>26.535</c:v>
                </c:pt>
                <c:pt idx="18">
                  <c:v>44.08</c:v>
                </c:pt>
                <c:pt idx="19">
                  <c:v>97.07</c:v>
                </c:pt>
                <c:pt idx="20">
                  <c:v>95.585000000000008</c:v>
                </c:pt>
                <c:pt idx="21">
                  <c:v>131.2699999999999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scaling>
        <c:delete val="0"/>
        <c:axPos val="r"/>
        <c:numFmt formatCode="General"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B$2:$B$23</c:f>
              <c:numCache>
                <c:formatCode>General</c:formatCode>
                <c:ptCount val="22"/>
                <c:pt idx="0">
                  <c:v>13</c:v>
                </c:pt>
                <c:pt idx="1">
                  <c:v>1</c:v>
                </c:pt>
                <c:pt idx="2">
                  <c:v>5</c:v>
                </c:pt>
                <c:pt idx="3">
                  <c:v>14</c:v>
                </c:pt>
                <c:pt idx="4">
                  <c:v>123</c:v>
                </c:pt>
                <c:pt idx="5">
                  <c:v>0</c:v>
                </c:pt>
                <c:pt idx="6">
                  <c:v>0</c:v>
                </c:pt>
                <c:pt idx="7">
                  <c:v>0</c:v>
                </c:pt>
                <c:pt idx="8">
                  <c:v>13</c:v>
                </c:pt>
                <c:pt idx="9">
                  <c:v>0</c:v>
                </c:pt>
                <c:pt idx="10">
                  <c:v>0</c:v>
                </c:pt>
                <c:pt idx="11">
                  <c:v>0</c:v>
                </c:pt>
                <c:pt idx="12">
                  <c:v>0</c:v>
                </c:pt>
                <c:pt idx="13">
                  <c:v>0</c:v>
                </c:pt>
                <c:pt idx="14">
                  <c:v>0</c:v>
                </c:pt>
                <c:pt idx="15">
                  <c:v>1</c:v>
                </c:pt>
                <c:pt idx="16">
                  <c:v>0</c:v>
                </c:pt>
                <c:pt idx="17">
                  <c:v>8</c:v>
                </c:pt>
                <c:pt idx="18">
                  <c:v>0</c:v>
                </c:pt>
                <c:pt idx="19">
                  <c:v>0</c:v>
                </c:pt>
                <c:pt idx="20">
                  <c:v>6</c:v>
                </c:pt>
                <c:pt idx="21">
                  <c:v>0</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C$2:$C$23</c:f>
              <c:numCache>
                <c:formatCode>General</c:formatCode>
                <c:ptCount val="22"/>
                <c:pt idx="0">
                  <c:v>1.1399999999999999</c:v>
                </c:pt>
                <c:pt idx="1">
                  <c:v>2.15</c:v>
                </c:pt>
                <c:pt idx="2">
                  <c:v>4.46</c:v>
                </c:pt>
                <c:pt idx="3">
                  <c:v>4</c:v>
                </c:pt>
                <c:pt idx="4">
                  <c:v>3.95</c:v>
                </c:pt>
                <c:pt idx="5">
                  <c:v>6.9</c:v>
                </c:pt>
                <c:pt idx="6">
                  <c:v>7.58</c:v>
                </c:pt>
                <c:pt idx="7">
                  <c:v>8.27</c:v>
                </c:pt>
                <c:pt idx="8">
                  <c:v>10.92</c:v>
                </c:pt>
                <c:pt idx="9">
                  <c:v>18.79</c:v>
                </c:pt>
                <c:pt idx="10">
                  <c:v>15.11</c:v>
                </c:pt>
                <c:pt idx="11">
                  <c:v>16.61</c:v>
                </c:pt>
                <c:pt idx="12">
                  <c:v>39</c:v>
                </c:pt>
                <c:pt idx="13">
                  <c:v>38.69</c:v>
                </c:pt>
                <c:pt idx="14">
                  <c:v>34.56</c:v>
                </c:pt>
                <c:pt idx="15">
                  <c:v>22.36</c:v>
                </c:pt>
                <c:pt idx="16">
                  <c:v>35.590000000000003</c:v>
                </c:pt>
                <c:pt idx="17">
                  <c:v>22.95</c:v>
                </c:pt>
                <c:pt idx="18">
                  <c:v>45.5</c:v>
                </c:pt>
                <c:pt idx="19">
                  <c:v>101.71</c:v>
                </c:pt>
                <c:pt idx="20">
                  <c:v>96.37</c:v>
                </c:pt>
                <c:pt idx="21">
                  <c:v>144.0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D$2:$D$23</c:f>
              <c:numCache>
                <c:formatCode>General</c:formatCode>
                <c:ptCount val="22"/>
                <c:pt idx="0">
                  <c:v>1.28</c:v>
                </c:pt>
                <c:pt idx="1">
                  <c:v>1.78</c:v>
                </c:pt>
                <c:pt idx="2">
                  <c:v>3.46</c:v>
                </c:pt>
                <c:pt idx="3">
                  <c:v>3.85</c:v>
                </c:pt>
                <c:pt idx="4">
                  <c:v>3.95</c:v>
                </c:pt>
                <c:pt idx="5">
                  <c:v>4.05</c:v>
                </c:pt>
                <c:pt idx="6">
                  <c:v>4.84</c:v>
                </c:pt>
                <c:pt idx="7">
                  <c:v>8.89</c:v>
                </c:pt>
                <c:pt idx="8">
                  <c:v>9.8800000000000008</c:v>
                </c:pt>
                <c:pt idx="9">
                  <c:v>11.85</c:v>
                </c:pt>
                <c:pt idx="10">
                  <c:v>12.24</c:v>
                </c:pt>
                <c:pt idx="11">
                  <c:v>14.22</c:v>
                </c:pt>
                <c:pt idx="12">
                  <c:v>21.23</c:v>
                </c:pt>
                <c:pt idx="13">
                  <c:v>24.29</c:v>
                </c:pt>
                <c:pt idx="14">
                  <c:v>24.59</c:v>
                </c:pt>
                <c:pt idx="15">
                  <c:v>26.37</c:v>
                </c:pt>
                <c:pt idx="16">
                  <c:v>28.54</c:v>
                </c:pt>
                <c:pt idx="17">
                  <c:v>30.12</c:v>
                </c:pt>
                <c:pt idx="18">
                  <c:v>42.66</c:v>
                </c:pt>
                <c:pt idx="19">
                  <c:v>92.43</c:v>
                </c:pt>
                <c:pt idx="20">
                  <c:v>94.8</c:v>
                </c:pt>
                <c:pt idx="21">
                  <c:v>11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rPr lang="en-US"/>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rPr lang="en-US"/>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E$2:$E$23</c:f>
              <c:numCache>
                <c:formatCode>General</c:formatCode>
                <c:ptCount val="22"/>
                <c:pt idx="0">
                  <c:v>1.21</c:v>
                </c:pt>
                <c:pt idx="1">
                  <c:v>1.9649999999999999</c:v>
                </c:pt>
                <c:pt idx="2">
                  <c:v>3.96</c:v>
                </c:pt>
                <c:pt idx="3">
                  <c:v>3.9249999999999998</c:v>
                </c:pt>
                <c:pt idx="4">
                  <c:v>3.95</c:v>
                </c:pt>
                <c:pt idx="5">
                  <c:v>5.4749999999999996</c:v>
                </c:pt>
                <c:pt idx="6">
                  <c:v>6.21</c:v>
                </c:pt>
                <c:pt idx="7">
                  <c:v>8.58</c:v>
                </c:pt>
                <c:pt idx="8">
                  <c:v>10.4</c:v>
                </c:pt>
                <c:pt idx="9">
                  <c:v>15.32</c:v>
                </c:pt>
                <c:pt idx="10">
                  <c:v>13.675000000000001</c:v>
                </c:pt>
                <c:pt idx="11">
                  <c:v>15.414999999999999</c:v>
                </c:pt>
                <c:pt idx="12">
                  <c:v>30.115000000000002</c:v>
                </c:pt>
                <c:pt idx="13">
                  <c:v>31.49</c:v>
                </c:pt>
                <c:pt idx="14">
                  <c:v>29.575000000000003</c:v>
                </c:pt>
                <c:pt idx="15">
                  <c:v>24.365000000000002</c:v>
                </c:pt>
                <c:pt idx="16">
                  <c:v>32.064999999999998</c:v>
                </c:pt>
                <c:pt idx="17">
                  <c:v>26.535</c:v>
                </c:pt>
                <c:pt idx="18">
                  <c:v>44.08</c:v>
                </c:pt>
                <c:pt idx="19">
                  <c:v>97.07</c:v>
                </c:pt>
                <c:pt idx="20">
                  <c:v>95.585000000000008</c:v>
                </c:pt>
                <c:pt idx="21">
                  <c:v>131.2699999999999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scaling>
        <c:delete val="0"/>
        <c:axPos val="r"/>
        <c:numFmt formatCode="General"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B$2:$B$23</c:f>
              <c:numCache>
                <c:formatCode>General</c:formatCode>
                <c:ptCount val="22"/>
                <c:pt idx="0">
                  <c:v>13</c:v>
                </c:pt>
                <c:pt idx="1">
                  <c:v>1</c:v>
                </c:pt>
                <c:pt idx="2">
                  <c:v>5</c:v>
                </c:pt>
                <c:pt idx="3">
                  <c:v>14</c:v>
                </c:pt>
                <c:pt idx="4">
                  <c:v>123</c:v>
                </c:pt>
                <c:pt idx="5">
                  <c:v>0</c:v>
                </c:pt>
                <c:pt idx="6">
                  <c:v>0</c:v>
                </c:pt>
                <c:pt idx="7">
                  <c:v>0</c:v>
                </c:pt>
                <c:pt idx="8">
                  <c:v>13</c:v>
                </c:pt>
                <c:pt idx="9">
                  <c:v>0</c:v>
                </c:pt>
                <c:pt idx="10">
                  <c:v>0</c:v>
                </c:pt>
                <c:pt idx="11">
                  <c:v>0</c:v>
                </c:pt>
                <c:pt idx="12">
                  <c:v>0</c:v>
                </c:pt>
                <c:pt idx="13">
                  <c:v>0</c:v>
                </c:pt>
                <c:pt idx="14">
                  <c:v>0</c:v>
                </c:pt>
                <c:pt idx="15">
                  <c:v>1</c:v>
                </c:pt>
                <c:pt idx="16">
                  <c:v>0</c:v>
                </c:pt>
                <c:pt idx="17">
                  <c:v>8</c:v>
                </c:pt>
                <c:pt idx="18">
                  <c:v>0</c:v>
                </c:pt>
                <c:pt idx="19">
                  <c:v>0</c:v>
                </c:pt>
                <c:pt idx="20">
                  <c:v>6</c:v>
                </c:pt>
                <c:pt idx="21">
                  <c:v>0</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C$2:$C$23</c:f>
              <c:numCache>
                <c:formatCode>General</c:formatCode>
                <c:ptCount val="22"/>
                <c:pt idx="0">
                  <c:v>1.1399999999999999</c:v>
                </c:pt>
                <c:pt idx="1">
                  <c:v>2.15</c:v>
                </c:pt>
                <c:pt idx="2">
                  <c:v>4.46</c:v>
                </c:pt>
                <c:pt idx="3">
                  <c:v>4</c:v>
                </c:pt>
                <c:pt idx="4">
                  <c:v>3.95</c:v>
                </c:pt>
                <c:pt idx="5">
                  <c:v>6.9</c:v>
                </c:pt>
                <c:pt idx="6">
                  <c:v>7.58</c:v>
                </c:pt>
                <c:pt idx="7">
                  <c:v>8.27</c:v>
                </c:pt>
                <c:pt idx="8">
                  <c:v>10.92</c:v>
                </c:pt>
                <c:pt idx="9">
                  <c:v>18.79</c:v>
                </c:pt>
                <c:pt idx="10">
                  <c:v>15.11</c:v>
                </c:pt>
                <c:pt idx="11">
                  <c:v>16.61</c:v>
                </c:pt>
                <c:pt idx="12">
                  <c:v>39</c:v>
                </c:pt>
                <c:pt idx="13">
                  <c:v>38.69</c:v>
                </c:pt>
                <c:pt idx="14">
                  <c:v>34.56</c:v>
                </c:pt>
                <c:pt idx="15">
                  <c:v>22.36</c:v>
                </c:pt>
                <c:pt idx="16">
                  <c:v>35.590000000000003</c:v>
                </c:pt>
                <c:pt idx="17">
                  <c:v>22.95</c:v>
                </c:pt>
                <c:pt idx="18">
                  <c:v>45.5</c:v>
                </c:pt>
                <c:pt idx="19">
                  <c:v>101.71</c:v>
                </c:pt>
                <c:pt idx="20">
                  <c:v>96.37</c:v>
                </c:pt>
                <c:pt idx="21">
                  <c:v>144.0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D$2:$D$23</c:f>
              <c:numCache>
                <c:formatCode>General</c:formatCode>
                <c:ptCount val="22"/>
                <c:pt idx="0">
                  <c:v>1.28</c:v>
                </c:pt>
                <c:pt idx="1">
                  <c:v>1.78</c:v>
                </c:pt>
                <c:pt idx="2">
                  <c:v>3.46</c:v>
                </c:pt>
                <c:pt idx="3">
                  <c:v>3.85</c:v>
                </c:pt>
                <c:pt idx="4">
                  <c:v>3.95</c:v>
                </c:pt>
                <c:pt idx="5">
                  <c:v>4.05</c:v>
                </c:pt>
                <c:pt idx="6">
                  <c:v>4.84</c:v>
                </c:pt>
                <c:pt idx="7">
                  <c:v>8.89</c:v>
                </c:pt>
                <c:pt idx="8">
                  <c:v>9.8800000000000008</c:v>
                </c:pt>
                <c:pt idx="9">
                  <c:v>11.85</c:v>
                </c:pt>
                <c:pt idx="10">
                  <c:v>12.24</c:v>
                </c:pt>
                <c:pt idx="11">
                  <c:v>14.22</c:v>
                </c:pt>
                <c:pt idx="12">
                  <c:v>21.23</c:v>
                </c:pt>
                <c:pt idx="13">
                  <c:v>24.29</c:v>
                </c:pt>
                <c:pt idx="14">
                  <c:v>24.59</c:v>
                </c:pt>
                <c:pt idx="15">
                  <c:v>26.37</c:v>
                </c:pt>
                <c:pt idx="16">
                  <c:v>28.54</c:v>
                </c:pt>
                <c:pt idx="17">
                  <c:v>30.12</c:v>
                </c:pt>
                <c:pt idx="18">
                  <c:v>42.66</c:v>
                </c:pt>
                <c:pt idx="19">
                  <c:v>92.43</c:v>
                </c:pt>
                <c:pt idx="20">
                  <c:v>94.8</c:v>
                </c:pt>
                <c:pt idx="21">
                  <c:v>11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rPr lang="en-US"/>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rPr lang="en-US"/>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E$2:$E$23</c:f>
              <c:numCache>
                <c:formatCode>General</c:formatCode>
                <c:ptCount val="22"/>
                <c:pt idx="0">
                  <c:v>1.21</c:v>
                </c:pt>
                <c:pt idx="1">
                  <c:v>1.9649999999999999</c:v>
                </c:pt>
                <c:pt idx="2">
                  <c:v>3.96</c:v>
                </c:pt>
                <c:pt idx="3">
                  <c:v>3.9249999999999998</c:v>
                </c:pt>
                <c:pt idx="4">
                  <c:v>3.95</c:v>
                </c:pt>
                <c:pt idx="5">
                  <c:v>5.4749999999999996</c:v>
                </c:pt>
                <c:pt idx="6">
                  <c:v>6.21</c:v>
                </c:pt>
                <c:pt idx="7">
                  <c:v>8.58</c:v>
                </c:pt>
                <c:pt idx="8">
                  <c:v>10.4</c:v>
                </c:pt>
                <c:pt idx="9">
                  <c:v>15.32</c:v>
                </c:pt>
                <c:pt idx="10">
                  <c:v>13.675000000000001</c:v>
                </c:pt>
                <c:pt idx="11">
                  <c:v>15.414999999999999</c:v>
                </c:pt>
                <c:pt idx="12">
                  <c:v>30.115000000000002</c:v>
                </c:pt>
                <c:pt idx="13">
                  <c:v>31.49</c:v>
                </c:pt>
                <c:pt idx="14">
                  <c:v>29.575000000000003</c:v>
                </c:pt>
                <c:pt idx="15">
                  <c:v>24.365000000000002</c:v>
                </c:pt>
                <c:pt idx="16">
                  <c:v>32.064999999999998</c:v>
                </c:pt>
                <c:pt idx="17">
                  <c:v>26.535</c:v>
                </c:pt>
                <c:pt idx="18">
                  <c:v>44.08</c:v>
                </c:pt>
                <c:pt idx="19">
                  <c:v>97.07</c:v>
                </c:pt>
                <c:pt idx="20">
                  <c:v>95.585000000000008</c:v>
                </c:pt>
                <c:pt idx="21">
                  <c:v>131.2699999999999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scaling>
        <c:delete val="0"/>
        <c:axPos val="r"/>
        <c:numFmt formatCode="General"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B$2:$B$23</c:f>
              <c:numCache>
                <c:formatCode>General</c:formatCode>
                <c:ptCount val="22"/>
                <c:pt idx="0">
                  <c:v>13</c:v>
                </c:pt>
                <c:pt idx="1">
                  <c:v>1</c:v>
                </c:pt>
                <c:pt idx="2">
                  <c:v>5</c:v>
                </c:pt>
                <c:pt idx="3">
                  <c:v>14</c:v>
                </c:pt>
                <c:pt idx="4">
                  <c:v>123</c:v>
                </c:pt>
                <c:pt idx="5">
                  <c:v>0</c:v>
                </c:pt>
                <c:pt idx="6">
                  <c:v>0</c:v>
                </c:pt>
                <c:pt idx="7">
                  <c:v>0</c:v>
                </c:pt>
                <c:pt idx="8">
                  <c:v>13</c:v>
                </c:pt>
                <c:pt idx="9">
                  <c:v>0</c:v>
                </c:pt>
                <c:pt idx="10">
                  <c:v>0</c:v>
                </c:pt>
                <c:pt idx="11">
                  <c:v>0</c:v>
                </c:pt>
                <c:pt idx="12">
                  <c:v>0</c:v>
                </c:pt>
                <c:pt idx="13">
                  <c:v>0</c:v>
                </c:pt>
                <c:pt idx="14">
                  <c:v>0</c:v>
                </c:pt>
                <c:pt idx="15">
                  <c:v>1</c:v>
                </c:pt>
                <c:pt idx="16">
                  <c:v>0</c:v>
                </c:pt>
                <c:pt idx="17">
                  <c:v>8</c:v>
                </c:pt>
                <c:pt idx="18">
                  <c:v>0</c:v>
                </c:pt>
                <c:pt idx="19">
                  <c:v>0</c:v>
                </c:pt>
                <c:pt idx="20">
                  <c:v>6</c:v>
                </c:pt>
                <c:pt idx="21">
                  <c:v>0</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C$2:$C$23</c:f>
              <c:numCache>
                <c:formatCode>General</c:formatCode>
                <c:ptCount val="22"/>
                <c:pt idx="0">
                  <c:v>1.1399999999999999</c:v>
                </c:pt>
                <c:pt idx="1">
                  <c:v>2.15</c:v>
                </c:pt>
                <c:pt idx="2">
                  <c:v>4.46</c:v>
                </c:pt>
                <c:pt idx="3">
                  <c:v>4</c:v>
                </c:pt>
                <c:pt idx="4">
                  <c:v>3.95</c:v>
                </c:pt>
                <c:pt idx="5">
                  <c:v>6.9</c:v>
                </c:pt>
                <c:pt idx="6">
                  <c:v>7.58</c:v>
                </c:pt>
                <c:pt idx="7">
                  <c:v>8.27</c:v>
                </c:pt>
                <c:pt idx="8">
                  <c:v>10.92</c:v>
                </c:pt>
                <c:pt idx="9">
                  <c:v>18.79</c:v>
                </c:pt>
                <c:pt idx="10">
                  <c:v>15.11</c:v>
                </c:pt>
                <c:pt idx="11">
                  <c:v>16.61</c:v>
                </c:pt>
                <c:pt idx="12">
                  <c:v>39</c:v>
                </c:pt>
                <c:pt idx="13">
                  <c:v>38.69</c:v>
                </c:pt>
                <c:pt idx="14">
                  <c:v>34.56</c:v>
                </c:pt>
                <c:pt idx="15">
                  <c:v>22.36</c:v>
                </c:pt>
                <c:pt idx="16">
                  <c:v>35.590000000000003</c:v>
                </c:pt>
                <c:pt idx="17">
                  <c:v>22.95</c:v>
                </c:pt>
                <c:pt idx="18">
                  <c:v>45.5</c:v>
                </c:pt>
                <c:pt idx="19">
                  <c:v>101.71</c:v>
                </c:pt>
                <c:pt idx="20">
                  <c:v>96.37</c:v>
                </c:pt>
                <c:pt idx="21">
                  <c:v>144.0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D$2:$D$23</c:f>
              <c:numCache>
                <c:formatCode>General</c:formatCode>
                <c:ptCount val="22"/>
                <c:pt idx="0">
                  <c:v>1.28</c:v>
                </c:pt>
                <c:pt idx="1">
                  <c:v>1.78</c:v>
                </c:pt>
                <c:pt idx="2">
                  <c:v>3.46</c:v>
                </c:pt>
                <c:pt idx="3">
                  <c:v>3.85</c:v>
                </c:pt>
                <c:pt idx="4">
                  <c:v>3.95</c:v>
                </c:pt>
                <c:pt idx="5">
                  <c:v>4.05</c:v>
                </c:pt>
                <c:pt idx="6">
                  <c:v>4.84</c:v>
                </c:pt>
                <c:pt idx="7">
                  <c:v>8.89</c:v>
                </c:pt>
                <c:pt idx="8">
                  <c:v>9.8800000000000008</c:v>
                </c:pt>
                <c:pt idx="9">
                  <c:v>11.85</c:v>
                </c:pt>
                <c:pt idx="10">
                  <c:v>12.24</c:v>
                </c:pt>
                <c:pt idx="11">
                  <c:v>14.22</c:v>
                </c:pt>
                <c:pt idx="12">
                  <c:v>21.23</c:v>
                </c:pt>
                <c:pt idx="13">
                  <c:v>24.29</c:v>
                </c:pt>
                <c:pt idx="14">
                  <c:v>24.59</c:v>
                </c:pt>
                <c:pt idx="15">
                  <c:v>26.37</c:v>
                </c:pt>
                <c:pt idx="16">
                  <c:v>28.54</c:v>
                </c:pt>
                <c:pt idx="17">
                  <c:v>30.12</c:v>
                </c:pt>
                <c:pt idx="18">
                  <c:v>42.66</c:v>
                </c:pt>
                <c:pt idx="19">
                  <c:v>92.43</c:v>
                </c:pt>
                <c:pt idx="20">
                  <c:v>94.8</c:v>
                </c:pt>
                <c:pt idx="21">
                  <c:v>11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rPr lang="en-US"/>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rPr lang="en-US"/>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E$2:$E$23</c:f>
              <c:numCache>
                <c:formatCode>General</c:formatCode>
                <c:ptCount val="22"/>
                <c:pt idx="0">
                  <c:v>1.21</c:v>
                </c:pt>
                <c:pt idx="1">
                  <c:v>1.9649999999999999</c:v>
                </c:pt>
                <c:pt idx="2">
                  <c:v>3.96</c:v>
                </c:pt>
                <c:pt idx="3">
                  <c:v>3.9249999999999998</c:v>
                </c:pt>
                <c:pt idx="4">
                  <c:v>3.95</c:v>
                </c:pt>
                <c:pt idx="5">
                  <c:v>5.4749999999999996</c:v>
                </c:pt>
                <c:pt idx="6">
                  <c:v>6.21</c:v>
                </c:pt>
                <c:pt idx="7">
                  <c:v>8.58</c:v>
                </c:pt>
                <c:pt idx="8">
                  <c:v>10.4</c:v>
                </c:pt>
                <c:pt idx="9">
                  <c:v>15.32</c:v>
                </c:pt>
                <c:pt idx="10">
                  <c:v>13.675000000000001</c:v>
                </c:pt>
                <c:pt idx="11">
                  <c:v>15.414999999999999</c:v>
                </c:pt>
                <c:pt idx="12">
                  <c:v>30.115000000000002</c:v>
                </c:pt>
                <c:pt idx="13">
                  <c:v>31.49</c:v>
                </c:pt>
                <c:pt idx="14">
                  <c:v>29.575000000000003</c:v>
                </c:pt>
                <c:pt idx="15">
                  <c:v>24.365000000000002</c:v>
                </c:pt>
                <c:pt idx="16">
                  <c:v>32.064999999999998</c:v>
                </c:pt>
                <c:pt idx="17">
                  <c:v>26.535</c:v>
                </c:pt>
                <c:pt idx="18">
                  <c:v>44.08</c:v>
                </c:pt>
                <c:pt idx="19">
                  <c:v>97.07</c:v>
                </c:pt>
                <c:pt idx="20">
                  <c:v>95.585000000000008</c:v>
                </c:pt>
                <c:pt idx="21">
                  <c:v>131.2699999999999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scaling>
        <c:delete val="0"/>
        <c:axPos val="r"/>
        <c:numFmt formatCode="General"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B$2:$B$23</c:f>
              <c:numCache>
                <c:formatCode>General</c:formatCode>
                <c:ptCount val="22"/>
                <c:pt idx="0">
                  <c:v>13</c:v>
                </c:pt>
                <c:pt idx="1">
                  <c:v>1</c:v>
                </c:pt>
                <c:pt idx="2">
                  <c:v>5</c:v>
                </c:pt>
                <c:pt idx="3">
                  <c:v>14</c:v>
                </c:pt>
                <c:pt idx="4">
                  <c:v>123</c:v>
                </c:pt>
                <c:pt idx="5">
                  <c:v>0</c:v>
                </c:pt>
                <c:pt idx="6">
                  <c:v>0</c:v>
                </c:pt>
                <c:pt idx="7">
                  <c:v>0</c:v>
                </c:pt>
                <c:pt idx="8">
                  <c:v>13</c:v>
                </c:pt>
                <c:pt idx="9">
                  <c:v>0</c:v>
                </c:pt>
                <c:pt idx="10">
                  <c:v>0</c:v>
                </c:pt>
                <c:pt idx="11">
                  <c:v>0</c:v>
                </c:pt>
                <c:pt idx="12">
                  <c:v>0</c:v>
                </c:pt>
                <c:pt idx="13">
                  <c:v>0</c:v>
                </c:pt>
                <c:pt idx="14">
                  <c:v>0</c:v>
                </c:pt>
                <c:pt idx="15">
                  <c:v>1</c:v>
                </c:pt>
                <c:pt idx="16">
                  <c:v>0</c:v>
                </c:pt>
                <c:pt idx="17">
                  <c:v>8</c:v>
                </c:pt>
                <c:pt idx="18">
                  <c:v>0</c:v>
                </c:pt>
                <c:pt idx="19">
                  <c:v>0</c:v>
                </c:pt>
                <c:pt idx="20">
                  <c:v>6</c:v>
                </c:pt>
                <c:pt idx="21">
                  <c:v>0</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C$2:$C$23</c:f>
              <c:numCache>
                <c:formatCode>General</c:formatCode>
                <c:ptCount val="22"/>
                <c:pt idx="0">
                  <c:v>1.1399999999999999</c:v>
                </c:pt>
                <c:pt idx="1">
                  <c:v>2.15</c:v>
                </c:pt>
                <c:pt idx="2">
                  <c:v>4.46</c:v>
                </c:pt>
                <c:pt idx="3">
                  <c:v>4</c:v>
                </c:pt>
                <c:pt idx="4">
                  <c:v>3.95</c:v>
                </c:pt>
                <c:pt idx="5">
                  <c:v>6.9</c:v>
                </c:pt>
                <c:pt idx="6">
                  <c:v>7.58</c:v>
                </c:pt>
                <c:pt idx="7">
                  <c:v>8.27</c:v>
                </c:pt>
                <c:pt idx="8">
                  <c:v>10.92</c:v>
                </c:pt>
                <c:pt idx="9">
                  <c:v>18.79</c:v>
                </c:pt>
                <c:pt idx="10">
                  <c:v>15.11</c:v>
                </c:pt>
                <c:pt idx="11">
                  <c:v>16.61</c:v>
                </c:pt>
                <c:pt idx="12">
                  <c:v>39</c:v>
                </c:pt>
                <c:pt idx="13">
                  <c:v>38.69</c:v>
                </c:pt>
                <c:pt idx="14">
                  <c:v>34.56</c:v>
                </c:pt>
                <c:pt idx="15">
                  <c:v>22.36</c:v>
                </c:pt>
                <c:pt idx="16">
                  <c:v>35.590000000000003</c:v>
                </c:pt>
                <c:pt idx="17">
                  <c:v>22.95</c:v>
                </c:pt>
                <c:pt idx="18">
                  <c:v>45.5</c:v>
                </c:pt>
                <c:pt idx="19">
                  <c:v>101.71</c:v>
                </c:pt>
                <c:pt idx="20">
                  <c:v>96.37</c:v>
                </c:pt>
                <c:pt idx="21">
                  <c:v>144.0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D$2:$D$23</c:f>
              <c:numCache>
                <c:formatCode>General</c:formatCode>
                <c:ptCount val="22"/>
                <c:pt idx="0">
                  <c:v>1.28</c:v>
                </c:pt>
                <c:pt idx="1">
                  <c:v>1.78</c:v>
                </c:pt>
                <c:pt idx="2">
                  <c:v>3.46</c:v>
                </c:pt>
                <c:pt idx="3">
                  <c:v>3.85</c:v>
                </c:pt>
                <c:pt idx="4">
                  <c:v>3.95</c:v>
                </c:pt>
                <c:pt idx="5">
                  <c:v>4.05</c:v>
                </c:pt>
                <c:pt idx="6">
                  <c:v>4.84</c:v>
                </c:pt>
                <c:pt idx="7">
                  <c:v>8.89</c:v>
                </c:pt>
                <c:pt idx="8">
                  <c:v>9.8800000000000008</c:v>
                </c:pt>
                <c:pt idx="9">
                  <c:v>11.85</c:v>
                </c:pt>
                <c:pt idx="10">
                  <c:v>12.24</c:v>
                </c:pt>
                <c:pt idx="11">
                  <c:v>14.22</c:v>
                </c:pt>
                <c:pt idx="12">
                  <c:v>21.23</c:v>
                </c:pt>
                <c:pt idx="13">
                  <c:v>24.29</c:v>
                </c:pt>
                <c:pt idx="14">
                  <c:v>24.59</c:v>
                </c:pt>
                <c:pt idx="15">
                  <c:v>26.37</c:v>
                </c:pt>
                <c:pt idx="16">
                  <c:v>28.54</c:v>
                </c:pt>
                <c:pt idx="17">
                  <c:v>30.12</c:v>
                </c:pt>
                <c:pt idx="18">
                  <c:v>42.66</c:v>
                </c:pt>
                <c:pt idx="19">
                  <c:v>92.43</c:v>
                </c:pt>
                <c:pt idx="20">
                  <c:v>94.8</c:v>
                </c:pt>
                <c:pt idx="21">
                  <c:v>11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rPr lang="en-US"/>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rPr lang="en-US"/>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E$2:$E$23</c:f>
              <c:numCache>
                <c:formatCode>General</c:formatCode>
                <c:ptCount val="22"/>
                <c:pt idx="0">
                  <c:v>1.21</c:v>
                </c:pt>
                <c:pt idx="1">
                  <c:v>1.9649999999999999</c:v>
                </c:pt>
                <c:pt idx="2">
                  <c:v>3.96</c:v>
                </c:pt>
                <c:pt idx="3">
                  <c:v>3.9249999999999998</c:v>
                </c:pt>
                <c:pt idx="4">
                  <c:v>3.95</c:v>
                </c:pt>
                <c:pt idx="5">
                  <c:v>5.4749999999999996</c:v>
                </c:pt>
                <c:pt idx="6">
                  <c:v>6.21</c:v>
                </c:pt>
                <c:pt idx="7">
                  <c:v>8.58</c:v>
                </c:pt>
                <c:pt idx="8">
                  <c:v>10.4</c:v>
                </c:pt>
                <c:pt idx="9">
                  <c:v>15.32</c:v>
                </c:pt>
                <c:pt idx="10">
                  <c:v>13.675000000000001</c:v>
                </c:pt>
                <c:pt idx="11">
                  <c:v>15.414999999999999</c:v>
                </c:pt>
                <c:pt idx="12">
                  <c:v>30.115000000000002</c:v>
                </c:pt>
                <c:pt idx="13">
                  <c:v>31.49</c:v>
                </c:pt>
                <c:pt idx="14">
                  <c:v>29.575000000000003</c:v>
                </c:pt>
                <c:pt idx="15">
                  <c:v>24.365000000000002</c:v>
                </c:pt>
                <c:pt idx="16">
                  <c:v>32.064999999999998</c:v>
                </c:pt>
                <c:pt idx="17">
                  <c:v>26.535</c:v>
                </c:pt>
                <c:pt idx="18">
                  <c:v>44.08</c:v>
                </c:pt>
                <c:pt idx="19">
                  <c:v>97.07</c:v>
                </c:pt>
                <c:pt idx="20">
                  <c:v>95.585000000000008</c:v>
                </c:pt>
                <c:pt idx="21">
                  <c:v>131.2699999999999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scaling>
        <c:delete val="0"/>
        <c:axPos val="r"/>
        <c:numFmt formatCode="General"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B$2:$B$23</c:f>
              <c:numCache>
                <c:formatCode>General</c:formatCode>
                <c:ptCount val="22"/>
                <c:pt idx="0">
                  <c:v>13</c:v>
                </c:pt>
                <c:pt idx="1">
                  <c:v>1</c:v>
                </c:pt>
                <c:pt idx="2">
                  <c:v>5</c:v>
                </c:pt>
                <c:pt idx="3">
                  <c:v>14</c:v>
                </c:pt>
                <c:pt idx="4">
                  <c:v>123</c:v>
                </c:pt>
                <c:pt idx="5">
                  <c:v>0</c:v>
                </c:pt>
                <c:pt idx="6">
                  <c:v>0</c:v>
                </c:pt>
                <c:pt idx="7">
                  <c:v>0</c:v>
                </c:pt>
                <c:pt idx="8">
                  <c:v>13</c:v>
                </c:pt>
                <c:pt idx="9">
                  <c:v>0</c:v>
                </c:pt>
                <c:pt idx="10">
                  <c:v>0</c:v>
                </c:pt>
                <c:pt idx="11">
                  <c:v>0</c:v>
                </c:pt>
                <c:pt idx="12">
                  <c:v>0</c:v>
                </c:pt>
                <c:pt idx="13">
                  <c:v>0</c:v>
                </c:pt>
                <c:pt idx="14">
                  <c:v>0</c:v>
                </c:pt>
                <c:pt idx="15">
                  <c:v>1</c:v>
                </c:pt>
                <c:pt idx="16">
                  <c:v>0</c:v>
                </c:pt>
                <c:pt idx="17">
                  <c:v>8</c:v>
                </c:pt>
                <c:pt idx="18">
                  <c:v>0</c:v>
                </c:pt>
                <c:pt idx="19">
                  <c:v>0</c:v>
                </c:pt>
                <c:pt idx="20">
                  <c:v>6</c:v>
                </c:pt>
                <c:pt idx="21">
                  <c:v>0</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C$2:$C$23</c:f>
              <c:numCache>
                <c:formatCode>General</c:formatCode>
                <c:ptCount val="22"/>
                <c:pt idx="0">
                  <c:v>1.1399999999999999</c:v>
                </c:pt>
                <c:pt idx="1">
                  <c:v>2.15</c:v>
                </c:pt>
                <c:pt idx="2">
                  <c:v>4.46</c:v>
                </c:pt>
                <c:pt idx="3">
                  <c:v>4</c:v>
                </c:pt>
                <c:pt idx="4">
                  <c:v>3.95</c:v>
                </c:pt>
                <c:pt idx="5">
                  <c:v>6.9</c:v>
                </c:pt>
                <c:pt idx="6">
                  <c:v>7.58</c:v>
                </c:pt>
                <c:pt idx="7">
                  <c:v>8.27</c:v>
                </c:pt>
                <c:pt idx="8">
                  <c:v>10.92</c:v>
                </c:pt>
                <c:pt idx="9">
                  <c:v>18.79</c:v>
                </c:pt>
                <c:pt idx="10">
                  <c:v>15.11</c:v>
                </c:pt>
                <c:pt idx="11">
                  <c:v>16.61</c:v>
                </c:pt>
                <c:pt idx="12">
                  <c:v>39</c:v>
                </c:pt>
                <c:pt idx="13">
                  <c:v>38.69</c:v>
                </c:pt>
                <c:pt idx="14">
                  <c:v>34.56</c:v>
                </c:pt>
                <c:pt idx="15">
                  <c:v>22.36</c:v>
                </c:pt>
                <c:pt idx="16">
                  <c:v>35.590000000000003</c:v>
                </c:pt>
                <c:pt idx="17">
                  <c:v>22.95</c:v>
                </c:pt>
                <c:pt idx="18">
                  <c:v>45.5</c:v>
                </c:pt>
                <c:pt idx="19">
                  <c:v>101.71</c:v>
                </c:pt>
                <c:pt idx="20">
                  <c:v>96.37</c:v>
                </c:pt>
                <c:pt idx="21">
                  <c:v>144.0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D$2:$D$23</c:f>
              <c:numCache>
                <c:formatCode>General</c:formatCode>
                <c:ptCount val="22"/>
                <c:pt idx="0">
                  <c:v>1.28</c:v>
                </c:pt>
                <c:pt idx="1">
                  <c:v>1.78</c:v>
                </c:pt>
                <c:pt idx="2">
                  <c:v>3.46</c:v>
                </c:pt>
                <c:pt idx="3">
                  <c:v>3.85</c:v>
                </c:pt>
                <c:pt idx="4">
                  <c:v>3.95</c:v>
                </c:pt>
                <c:pt idx="5">
                  <c:v>4.05</c:v>
                </c:pt>
                <c:pt idx="6">
                  <c:v>4.84</c:v>
                </c:pt>
                <c:pt idx="7">
                  <c:v>8.89</c:v>
                </c:pt>
                <c:pt idx="8">
                  <c:v>9.8800000000000008</c:v>
                </c:pt>
                <c:pt idx="9">
                  <c:v>11.85</c:v>
                </c:pt>
                <c:pt idx="10">
                  <c:v>12.24</c:v>
                </c:pt>
                <c:pt idx="11">
                  <c:v>14.22</c:v>
                </c:pt>
                <c:pt idx="12">
                  <c:v>21.23</c:v>
                </c:pt>
                <c:pt idx="13">
                  <c:v>24.29</c:v>
                </c:pt>
                <c:pt idx="14">
                  <c:v>24.59</c:v>
                </c:pt>
                <c:pt idx="15">
                  <c:v>26.37</c:v>
                </c:pt>
                <c:pt idx="16">
                  <c:v>28.54</c:v>
                </c:pt>
                <c:pt idx="17">
                  <c:v>30.12</c:v>
                </c:pt>
                <c:pt idx="18">
                  <c:v>42.66</c:v>
                </c:pt>
                <c:pt idx="19">
                  <c:v>92.43</c:v>
                </c:pt>
                <c:pt idx="20">
                  <c:v>94.8</c:v>
                </c:pt>
                <c:pt idx="21">
                  <c:v>11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rPr lang="en-US"/>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rPr lang="en-US"/>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E$2:$E$23</c:f>
              <c:numCache>
                <c:formatCode>General</c:formatCode>
                <c:ptCount val="22"/>
                <c:pt idx="0">
                  <c:v>1.21</c:v>
                </c:pt>
                <c:pt idx="1">
                  <c:v>1.9649999999999999</c:v>
                </c:pt>
                <c:pt idx="2">
                  <c:v>3.96</c:v>
                </c:pt>
                <c:pt idx="3">
                  <c:v>3.9249999999999998</c:v>
                </c:pt>
                <c:pt idx="4">
                  <c:v>3.95</c:v>
                </c:pt>
                <c:pt idx="5">
                  <c:v>5.4749999999999996</c:v>
                </c:pt>
                <c:pt idx="6">
                  <c:v>6.21</c:v>
                </c:pt>
                <c:pt idx="7">
                  <c:v>8.58</c:v>
                </c:pt>
                <c:pt idx="8">
                  <c:v>10.4</c:v>
                </c:pt>
                <c:pt idx="9">
                  <c:v>15.32</c:v>
                </c:pt>
                <c:pt idx="10">
                  <c:v>13.675000000000001</c:v>
                </c:pt>
                <c:pt idx="11">
                  <c:v>15.414999999999999</c:v>
                </c:pt>
                <c:pt idx="12">
                  <c:v>30.115000000000002</c:v>
                </c:pt>
                <c:pt idx="13">
                  <c:v>31.49</c:v>
                </c:pt>
                <c:pt idx="14">
                  <c:v>29.575000000000003</c:v>
                </c:pt>
                <c:pt idx="15">
                  <c:v>24.365000000000002</c:v>
                </c:pt>
                <c:pt idx="16">
                  <c:v>32.064999999999998</c:v>
                </c:pt>
                <c:pt idx="17">
                  <c:v>26.535</c:v>
                </c:pt>
                <c:pt idx="18">
                  <c:v>44.08</c:v>
                </c:pt>
                <c:pt idx="19">
                  <c:v>97.07</c:v>
                </c:pt>
                <c:pt idx="20">
                  <c:v>95.585000000000008</c:v>
                </c:pt>
                <c:pt idx="21">
                  <c:v>131.2699999999999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scaling>
        <c:delete val="0"/>
        <c:axPos val="r"/>
        <c:numFmt formatCode="General"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B$2:$B$23</c:f>
              <c:numCache>
                <c:formatCode>General</c:formatCode>
                <c:ptCount val="22"/>
                <c:pt idx="0">
                  <c:v>13</c:v>
                </c:pt>
                <c:pt idx="1">
                  <c:v>1</c:v>
                </c:pt>
                <c:pt idx="2">
                  <c:v>5</c:v>
                </c:pt>
                <c:pt idx="3">
                  <c:v>14</c:v>
                </c:pt>
                <c:pt idx="4">
                  <c:v>123</c:v>
                </c:pt>
                <c:pt idx="5">
                  <c:v>0</c:v>
                </c:pt>
                <c:pt idx="6">
                  <c:v>0</c:v>
                </c:pt>
                <c:pt idx="7">
                  <c:v>0</c:v>
                </c:pt>
                <c:pt idx="8">
                  <c:v>13</c:v>
                </c:pt>
                <c:pt idx="9">
                  <c:v>0</c:v>
                </c:pt>
                <c:pt idx="10">
                  <c:v>0</c:v>
                </c:pt>
                <c:pt idx="11">
                  <c:v>0</c:v>
                </c:pt>
                <c:pt idx="12">
                  <c:v>0</c:v>
                </c:pt>
                <c:pt idx="13">
                  <c:v>0</c:v>
                </c:pt>
                <c:pt idx="14">
                  <c:v>0</c:v>
                </c:pt>
                <c:pt idx="15">
                  <c:v>1</c:v>
                </c:pt>
                <c:pt idx="16">
                  <c:v>0</c:v>
                </c:pt>
                <c:pt idx="17">
                  <c:v>8</c:v>
                </c:pt>
                <c:pt idx="18">
                  <c:v>0</c:v>
                </c:pt>
                <c:pt idx="19">
                  <c:v>0</c:v>
                </c:pt>
                <c:pt idx="20">
                  <c:v>6</c:v>
                </c:pt>
                <c:pt idx="21">
                  <c:v>0</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C$2:$C$23</c:f>
              <c:numCache>
                <c:formatCode>General</c:formatCode>
                <c:ptCount val="22"/>
                <c:pt idx="0">
                  <c:v>1.1399999999999999</c:v>
                </c:pt>
                <c:pt idx="1">
                  <c:v>2.15</c:v>
                </c:pt>
                <c:pt idx="2">
                  <c:v>4.46</c:v>
                </c:pt>
                <c:pt idx="3">
                  <c:v>4</c:v>
                </c:pt>
                <c:pt idx="4">
                  <c:v>3.95</c:v>
                </c:pt>
                <c:pt idx="5">
                  <c:v>6.9</c:v>
                </c:pt>
                <c:pt idx="6">
                  <c:v>7.58</c:v>
                </c:pt>
                <c:pt idx="7">
                  <c:v>8.27</c:v>
                </c:pt>
                <c:pt idx="8">
                  <c:v>10.92</c:v>
                </c:pt>
                <c:pt idx="9">
                  <c:v>18.79</c:v>
                </c:pt>
                <c:pt idx="10">
                  <c:v>15.11</c:v>
                </c:pt>
                <c:pt idx="11">
                  <c:v>16.61</c:v>
                </c:pt>
                <c:pt idx="12">
                  <c:v>39</c:v>
                </c:pt>
                <c:pt idx="13">
                  <c:v>38.69</c:v>
                </c:pt>
                <c:pt idx="14">
                  <c:v>34.56</c:v>
                </c:pt>
                <c:pt idx="15">
                  <c:v>22.36</c:v>
                </c:pt>
                <c:pt idx="16">
                  <c:v>35.590000000000003</c:v>
                </c:pt>
                <c:pt idx="17">
                  <c:v>22.95</c:v>
                </c:pt>
                <c:pt idx="18">
                  <c:v>45.5</c:v>
                </c:pt>
                <c:pt idx="19">
                  <c:v>101.71</c:v>
                </c:pt>
                <c:pt idx="20">
                  <c:v>96.37</c:v>
                </c:pt>
                <c:pt idx="21">
                  <c:v>144.0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D$2:$D$23</c:f>
              <c:numCache>
                <c:formatCode>General</c:formatCode>
                <c:ptCount val="22"/>
                <c:pt idx="0">
                  <c:v>1.28</c:v>
                </c:pt>
                <c:pt idx="1">
                  <c:v>1.78</c:v>
                </c:pt>
                <c:pt idx="2">
                  <c:v>3.46</c:v>
                </c:pt>
                <c:pt idx="3">
                  <c:v>3.85</c:v>
                </c:pt>
                <c:pt idx="4">
                  <c:v>3.95</c:v>
                </c:pt>
                <c:pt idx="5">
                  <c:v>4.05</c:v>
                </c:pt>
                <c:pt idx="6">
                  <c:v>4.84</c:v>
                </c:pt>
                <c:pt idx="7">
                  <c:v>8.89</c:v>
                </c:pt>
                <c:pt idx="8">
                  <c:v>9.8800000000000008</c:v>
                </c:pt>
                <c:pt idx="9">
                  <c:v>11.85</c:v>
                </c:pt>
                <c:pt idx="10">
                  <c:v>12.24</c:v>
                </c:pt>
                <c:pt idx="11">
                  <c:v>14.22</c:v>
                </c:pt>
                <c:pt idx="12">
                  <c:v>21.23</c:v>
                </c:pt>
                <c:pt idx="13">
                  <c:v>24.29</c:v>
                </c:pt>
                <c:pt idx="14">
                  <c:v>24.59</c:v>
                </c:pt>
                <c:pt idx="15">
                  <c:v>26.37</c:v>
                </c:pt>
                <c:pt idx="16">
                  <c:v>28.54</c:v>
                </c:pt>
                <c:pt idx="17">
                  <c:v>30.12</c:v>
                </c:pt>
                <c:pt idx="18">
                  <c:v>42.66</c:v>
                </c:pt>
                <c:pt idx="19">
                  <c:v>92.43</c:v>
                </c:pt>
                <c:pt idx="20">
                  <c:v>94.8</c:v>
                </c:pt>
                <c:pt idx="21">
                  <c:v>11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rPr lang="en-US"/>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rPr lang="en-US"/>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E$2:$E$23</c:f>
              <c:numCache>
                <c:formatCode>General</c:formatCode>
                <c:ptCount val="22"/>
                <c:pt idx="0">
                  <c:v>1.21</c:v>
                </c:pt>
                <c:pt idx="1">
                  <c:v>1.9649999999999999</c:v>
                </c:pt>
                <c:pt idx="2">
                  <c:v>3.96</c:v>
                </c:pt>
                <c:pt idx="3">
                  <c:v>3.9249999999999998</c:v>
                </c:pt>
                <c:pt idx="4">
                  <c:v>3.95</c:v>
                </c:pt>
                <c:pt idx="5">
                  <c:v>5.4749999999999996</c:v>
                </c:pt>
                <c:pt idx="6">
                  <c:v>6.21</c:v>
                </c:pt>
                <c:pt idx="7">
                  <c:v>8.58</c:v>
                </c:pt>
                <c:pt idx="8">
                  <c:v>10.4</c:v>
                </c:pt>
                <c:pt idx="9">
                  <c:v>15.32</c:v>
                </c:pt>
                <c:pt idx="10">
                  <c:v>13.675000000000001</c:v>
                </c:pt>
                <c:pt idx="11">
                  <c:v>15.414999999999999</c:v>
                </c:pt>
                <c:pt idx="12">
                  <c:v>30.115000000000002</c:v>
                </c:pt>
                <c:pt idx="13">
                  <c:v>31.49</c:v>
                </c:pt>
                <c:pt idx="14">
                  <c:v>29.575000000000003</c:v>
                </c:pt>
                <c:pt idx="15">
                  <c:v>24.365000000000002</c:v>
                </c:pt>
                <c:pt idx="16">
                  <c:v>32.064999999999998</c:v>
                </c:pt>
                <c:pt idx="17">
                  <c:v>26.535</c:v>
                </c:pt>
                <c:pt idx="18">
                  <c:v>44.08</c:v>
                </c:pt>
                <c:pt idx="19">
                  <c:v>97.07</c:v>
                </c:pt>
                <c:pt idx="20">
                  <c:v>95.585000000000008</c:v>
                </c:pt>
                <c:pt idx="21">
                  <c:v>131.2699999999999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scaling>
        <c:delete val="0"/>
        <c:axPos val="r"/>
        <c:numFmt formatCode="General"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B$2:$B$23</c:f>
              <c:numCache>
                <c:formatCode>General</c:formatCode>
                <c:ptCount val="22"/>
                <c:pt idx="0">
                  <c:v>13</c:v>
                </c:pt>
                <c:pt idx="1">
                  <c:v>1</c:v>
                </c:pt>
                <c:pt idx="2">
                  <c:v>5</c:v>
                </c:pt>
                <c:pt idx="3">
                  <c:v>14</c:v>
                </c:pt>
                <c:pt idx="4">
                  <c:v>123</c:v>
                </c:pt>
                <c:pt idx="5">
                  <c:v>0</c:v>
                </c:pt>
                <c:pt idx="6">
                  <c:v>0</c:v>
                </c:pt>
                <c:pt idx="7">
                  <c:v>0</c:v>
                </c:pt>
                <c:pt idx="8">
                  <c:v>13</c:v>
                </c:pt>
                <c:pt idx="9">
                  <c:v>0</c:v>
                </c:pt>
                <c:pt idx="10">
                  <c:v>0</c:v>
                </c:pt>
                <c:pt idx="11">
                  <c:v>0</c:v>
                </c:pt>
                <c:pt idx="12">
                  <c:v>0</c:v>
                </c:pt>
                <c:pt idx="13">
                  <c:v>0</c:v>
                </c:pt>
                <c:pt idx="14">
                  <c:v>0</c:v>
                </c:pt>
                <c:pt idx="15">
                  <c:v>1</c:v>
                </c:pt>
                <c:pt idx="16">
                  <c:v>0</c:v>
                </c:pt>
                <c:pt idx="17">
                  <c:v>8</c:v>
                </c:pt>
                <c:pt idx="18">
                  <c:v>0</c:v>
                </c:pt>
                <c:pt idx="19">
                  <c:v>0</c:v>
                </c:pt>
                <c:pt idx="20">
                  <c:v>6</c:v>
                </c:pt>
                <c:pt idx="21">
                  <c:v>0</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C$2:$C$23</c:f>
              <c:numCache>
                <c:formatCode>General</c:formatCode>
                <c:ptCount val="22"/>
                <c:pt idx="0">
                  <c:v>1.1399999999999999</c:v>
                </c:pt>
                <c:pt idx="1">
                  <c:v>2.15</c:v>
                </c:pt>
                <c:pt idx="2">
                  <c:v>4.46</c:v>
                </c:pt>
                <c:pt idx="3">
                  <c:v>4</c:v>
                </c:pt>
                <c:pt idx="4">
                  <c:v>3.95</c:v>
                </c:pt>
                <c:pt idx="5">
                  <c:v>6.9</c:v>
                </c:pt>
                <c:pt idx="6">
                  <c:v>7.58</c:v>
                </c:pt>
                <c:pt idx="7">
                  <c:v>8.27</c:v>
                </c:pt>
                <c:pt idx="8">
                  <c:v>10.92</c:v>
                </c:pt>
                <c:pt idx="9">
                  <c:v>18.79</c:v>
                </c:pt>
                <c:pt idx="10">
                  <c:v>15.11</c:v>
                </c:pt>
                <c:pt idx="11">
                  <c:v>16.61</c:v>
                </c:pt>
                <c:pt idx="12">
                  <c:v>39</c:v>
                </c:pt>
                <c:pt idx="13">
                  <c:v>38.69</c:v>
                </c:pt>
                <c:pt idx="14">
                  <c:v>34.56</c:v>
                </c:pt>
                <c:pt idx="15">
                  <c:v>22.36</c:v>
                </c:pt>
                <c:pt idx="16">
                  <c:v>35.590000000000003</c:v>
                </c:pt>
                <c:pt idx="17">
                  <c:v>22.95</c:v>
                </c:pt>
                <c:pt idx="18">
                  <c:v>45.5</c:v>
                </c:pt>
                <c:pt idx="19">
                  <c:v>101.71</c:v>
                </c:pt>
                <c:pt idx="20">
                  <c:v>96.37</c:v>
                </c:pt>
                <c:pt idx="21">
                  <c:v>144.0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D$2:$D$23</c:f>
              <c:numCache>
                <c:formatCode>General</c:formatCode>
                <c:ptCount val="22"/>
                <c:pt idx="0">
                  <c:v>1.28</c:v>
                </c:pt>
                <c:pt idx="1">
                  <c:v>1.78</c:v>
                </c:pt>
                <c:pt idx="2">
                  <c:v>3.46</c:v>
                </c:pt>
                <c:pt idx="3">
                  <c:v>3.85</c:v>
                </c:pt>
                <c:pt idx="4">
                  <c:v>3.95</c:v>
                </c:pt>
                <c:pt idx="5">
                  <c:v>4.05</c:v>
                </c:pt>
                <c:pt idx="6">
                  <c:v>4.84</c:v>
                </c:pt>
                <c:pt idx="7">
                  <c:v>8.89</c:v>
                </c:pt>
                <c:pt idx="8">
                  <c:v>9.8800000000000008</c:v>
                </c:pt>
                <c:pt idx="9">
                  <c:v>11.85</c:v>
                </c:pt>
                <c:pt idx="10">
                  <c:v>12.24</c:v>
                </c:pt>
                <c:pt idx="11">
                  <c:v>14.22</c:v>
                </c:pt>
                <c:pt idx="12">
                  <c:v>21.23</c:v>
                </c:pt>
                <c:pt idx="13">
                  <c:v>24.29</c:v>
                </c:pt>
                <c:pt idx="14">
                  <c:v>24.59</c:v>
                </c:pt>
                <c:pt idx="15">
                  <c:v>26.37</c:v>
                </c:pt>
                <c:pt idx="16">
                  <c:v>28.54</c:v>
                </c:pt>
                <c:pt idx="17">
                  <c:v>30.12</c:v>
                </c:pt>
                <c:pt idx="18">
                  <c:v>42.66</c:v>
                </c:pt>
                <c:pt idx="19">
                  <c:v>92.43</c:v>
                </c:pt>
                <c:pt idx="20">
                  <c:v>94.8</c:v>
                </c:pt>
                <c:pt idx="21">
                  <c:v>11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rPr lang="en-US"/>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rPr lang="en-US"/>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E$2:$E$23</c:f>
              <c:numCache>
                <c:formatCode>General</c:formatCode>
                <c:ptCount val="22"/>
                <c:pt idx="0">
                  <c:v>1.21</c:v>
                </c:pt>
                <c:pt idx="1">
                  <c:v>1.9649999999999999</c:v>
                </c:pt>
                <c:pt idx="2">
                  <c:v>3.96</c:v>
                </c:pt>
                <c:pt idx="3">
                  <c:v>3.9249999999999998</c:v>
                </c:pt>
                <c:pt idx="4">
                  <c:v>3.95</c:v>
                </c:pt>
                <c:pt idx="5">
                  <c:v>5.4749999999999996</c:v>
                </c:pt>
                <c:pt idx="6">
                  <c:v>6.21</c:v>
                </c:pt>
                <c:pt idx="7">
                  <c:v>8.58</c:v>
                </c:pt>
                <c:pt idx="8">
                  <c:v>10.4</c:v>
                </c:pt>
                <c:pt idx="9">
                  <c:v>15.32</c:v>
                </c:pt>
                <c:pt idx="10">
                  <c:v>13.675000000000001</c:v>
                </c:pt>
                <c:pt idx="11">
                  <c:v>15.414999999999999</c:v>
                </c:pt>
                <c:pt idx="12">
                  <c:v>30.115000000000002</c:v>
                </c:pt>
                <c:pt idx="13">
                  <c:v>31.49</c:v>
                </c:pt>
                <c:pt idx="14">
                  <c:v>29.575000000000003</c:v>
                </c:pt>
                <c:pt idx="15">
                  <c:v>24.365000000000002</c:v>
                </c:pt>
                <c:pt idx="16">
                  <c:v>32.064999999999998</c:v>
                </c:pt>
                <c:pt idx="17">
                  <c:v>26.535</c:v>
                </c:pt>
                <c:pt idx="18">
                  <c:v>44.08</c:v>
                </c:pt>
                <c:pt idx="19">
                  <c:v>97.07</c:v>
                </c:pt>
                <c:pt idx="20">
                  <c:v>95.585000000000008</c:v>
                </c:pt>
                <c:pt idx="21">
                  <c:v>131.2699999999999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scaling>
        <c:delete val="0"/>
        <c:axPos val="r"/>
        <c:numFmt formatCode="General"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B$2:$B$23</c:f>
              <c:numCache>
                <c:formatCode>General</c:formatCode>
                <c:ptCount val="22"/>
                <c:pt idx="0">
                  <c:v>13</c:v>
                </c:pt>
                <c:pt idx="1">
                  <c:v>1</c:v>
                </c:pt>
                <c:pt idx="2">
                  <c:v>5</c:v>
                </c:pt>
                <c:pt idx="3">
                  <c:v>14</c:v>
                </c:pt>
                <c:pt idx="4">
                  <c:v>123</c:v>
                </c:pt>
                <c:pt idx="5">
                  <c:v>0</c:v>
                </c:pt>
                <c:pt idx="6">
                  <c:v>0</c:v>
                </c:pt>
                <c:pt idx="7">
                  <c:v>0</c:v>
                </c:pt>
                <c:pt idx="8">
                  <c:v>13</c:v>
                </c:pt>
                <c:pt idx="9">
                  <c:v>0</c:v>
                </c:pt>
                <c:pt idx="10">
                  <c:v>0</c:v>
                </c:pt>
                <c:pt idx="11">
                  <c:v>0</c:v>
                </c:pt>
                <c:pt idx="12">
                  <c:v>0</c:v>
                </c:pt>
                <c:pt idx="13">
                  <c:v>0</c:v>
                </c:pt>
                <c:pt idx="14">
                  <c:v>0</c:v>
                </c:pt>
                <c:pt idx="15">
                  <c:v>1</c:v>
                </c:pt>
                <c:pt idx="16">
                  <c:v>0</c:v>
                </c:pt>
                <c:pt idx="17">
                  <c:v>8</c:v>
                </c:pt>
                <c:pt idx="18">
                  <c:v>0</c:v>
                </c:pt>
                <c:pt idx="19">
                  <c:v>0</c:v>
                </c:pt>
                <c:pt idx="20">
                  <c:v>6</c:v>
                </c:pt>
                <c:pt idx="21">
                  <c:v>0</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C$2:$C$23</c:f>
              <c:numCache>
                <c:formatCode>General</c:formatCode>
                <c:ptCount val="22"/>
                <c:pt idx="0">
                  <c:v>1.1399999999999999</c:v>
                </c:pt>
                <c:pt idx="1">
                  <c:v>2.15</c:v>
                </c:pt>
                <c:pt idx="2">
                  <c:v>4.46</c:v>
                </c:pt>
                <c:pt idx="3">
                  <c:v>4</c:v>
                </c:pt>
                <c:pt idx="4">
                  <c:v>3.95</c:v>
                </c:pt>
                <c:pt idx="5">
                  <c:v>6.9</c:v>
                </c:pt>
                <c:pt idx="6">
                  <c:v>7.58</c:v>
                </c:pt>
                <c:pt idx="7">
                  <c:v>8.27</c:v>
                </c:pt>
                <c:pt idx="8">
                  <c:v>10.92</c:v>
                </c:pt>
                <c:pt idx="9">
                  <c:v>18.79</c:v>
                </c:pt>
                <c:pt idx="10">
                  <c:v>15.11</c:v>
                </c:pt>
                <c:pt idx="11">
                  <c:v>16.61</c:v>
                </c:pt>
                <c:pt idx="12">
                  <c:v>39</c:v>
                </c:pt>
                <c:pt idx="13">
                  <c:v>38.69</c:v>
                </c:pt>
                <c:pt idx="14">
                  <c:v>34.56</c:v>
                </c:pt>
                <c:pt idx="15">
                  <c:v>22.36</c:v>
                </c:pt>
                <c:pt idx="16">
                  <c:v>35.590000000000003</c:v>
                </c:pt>
                <c:pt idx="17">
                  <c:v>22.95</c:v>
                </c:pt>
                <c:pt idx="18">
                  <c:v>45.5</c:v>
                </c:pt>
                <c:pt idx="19">
                  <c:v>101.71</c:v>
                </c:pt>
                <c:pt idx="20">
                  <c:v>96.37</c:v>
                </c:pt>
                <c:pt idx="21">
                  <c:v>144.0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D$2:$D$23</c:f>
              <c:numCache>
                <c:formatCode>General</c:formatCode>
                <c:ptCount val="22"/>
                <c:pt idx="0">
                  <c:v>1.28</c:v>
                </c:pt>
                <c:pt idx="1">
                  <c:v>1.78</c:v>
                </c:pt>
                <c:pt idx="2">
                  <c:v>3.46</c:v>
                </c:pt>
                <c:pt idx="3">
                  <c:v>3.85</c:v>
                </c:pt>
                <c:pt idx="4">
                  <c:v>3.95</c:v>
                </c:pt>
                <c:pt idx="5">
                  <c:v>4.05</c:v>
                </c:pt>
                <c:pt idx="6">
                  <c:v>4.84</c:v>
                </c:pt>
                <c:pt idx="7">
                  <c:v>8.89</c:v>
                </c:pt>
                <c:pt idx="8">
                  <c:v>9.8800000000000008</c:v>
                </c:pt>
                <c:pt idx="9">
                  <c:v>11.85</c:v>
                </c:pt>
                <c:pt idx="10">
                  <c:v>12.24</c:v>
                </c:pt>
                <c:pt idx="11">
                  <c:v>14.22</c:v>
                </c:pt>
                <c:pt idx="12">
                  <c:v>21.23</c:v>
                </c:pt>
                <c:pt idx="13">
                  <c:v>24.29</c:v>
                </c:pt>
                <c:pt idx="14">
                  <c:v>24.59</c:v>
                </c:pt>
                <c:pt idx="15">
                  <c:v>26.37</c:v>
                </c:pt>
                <c:pt idx="16">
                  <c:v>28.54</c:v>
                </c:pt>
                <c:pt idx="17">
                  <c:v>30.12</c:v>
                </c:pt>
                <c:pt idx="18">
                  <c:v>42.66</c:v>
                </c:pt>
                <c:pt idx="19">
                  <c:v>92.43</c:v>
                </c:pt>
                <c:pt idx="20">
                  <c:v>94.8</c:v>
                </c:pt>
                <c:pt idx="21">
                  <c:v>11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rPr lang="en-US"/>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rPr lang="en-US"/>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E$2:$E$23</c:f>
              <c:numCache>
                <c:formatCode>General</c:formatCode>
                <c:ptCount val="22"/>
                <c:pt idx="0">
                  <c:v>1.21</c:v>
                </c:pt>
                <c:pt idx="1">
                  <c:v>1.9649999999999999</c:v>
                </c:pt>
                <c:pt idx="2">
                  <c:v>3.96</c:v>
                </c:pt>
                <c:pt idx="3">
                  <c:v>3.9249999999999998</c:v>
                </c:pt>
                <c:pt idx="4">
                  <c:v>3.95</c:v>
                </c:pt>
                <c:pt idx="5">
                  <c:v>5.4749999999999996</c:v>
                </c:pt>
                <c:pt idx="6">
                  <c:v>6.21</c:v>
                </c:pt>
                <c:pt idx="7">
                  <c:v>8.58</c:v>
                </c:pt>
                <c:pt idx="8">
                  <c:v>10.4</c:v>
                </c:pt>
                <c:pt idx="9">
                  <c:v>15.32</c:v>
                </c:pt>
                <c:pt idx="10">
                  <c:v>13.675000000000001</c:v>
                </c:pt>
                <c:pt idx="11">
                  <c:v>15.414999999999999</c:v>
                </c:pt>
                <c:pt idx="12">
                  <c:v>30.115000000000002</c:v>
                </c:pt>
                <c:pt idx="13">
                  <c:v>31.49</c:v>
                </c:pt>
                <c:pt idx="14">
                  <c:v>29.575000000000003</c:v>
                </c:pt>
                <c:pt idx="15">
                  <c:v>24.365000000000002</c:v>
                </c:pt>
                <c:pt idx="16">
                  <c:v>32.064999999999998</c:v>
                </c:pt>
                <c:pt idx="17">
                  <c:v>26.535</c:v>
                </c:pt>
                <c:pt idx="18">
                  <c:v>44.08</c:v>
                </c:pt>
                <c:pt idx="19">
                  <c:v>97.07</c:v>
                </c:pt>
                <c:pt idx="20">
                  <c:v>95.585000000000008</c:v>
                </c:pt>
                <c:pt idx="21">
                  <c:v>131.2699999999999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scaling>
        <c:delete val="0"/>
        <c:axPos val="r"/>
        <c:numFmt formatCode="General"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B$2:$B$23</c:f>
              <c:numCache>
                <c:formatCode>General</c:formatCode>
                <c:ptCount val="22"/>
                <c:pt idx="0">
                  <c:v>13</c:v>
                </c:pt>
                <c:pt idx="1">
                  <c:v>1</c:v>
                </c:pt>
                <c:pt idx="2">
                  <c:v>5</c:v>
                </c:pt>
                <c:pt idx="3">
                  <c:v>14</c:v>
                </c:pt>
                <c:pt idx="4">
                  <c:v>123</c:v>
                </c:pt>
                <c:pt idx="5">
                  <c:v>0</c:v>
                </c:pt>
                <c:pt idx="6">
                  <c:v>0</c:v>
                </c:pt>
                <c:pt idx="7">
                  <c:v>0</c:v>
                </c:pt>
                <c:pt idx="8">
                  <c:v>13</c:v>
                </c:pt>
                <c:pt idx="9">
                  <c:v>0</c:v>
                </c:pt>
                <c:pt idx="10">
                  <c:v>0</c:v>
                </c:pt>
                <c:pt idx="11">
                  <c:v>0</c:v>
                </c:pt>
                <c:pt idx="12">
                  <c:v>0</c:v>
                </c:pt>
                <c:pt idx="13">
                  <c:v>0</c:v>
                </c:pt>
                <c:pt idx="14">
                  <c:v>0</c:v>
                </c:pt>
                <c:pt idx="15">
                  <c:v>1</c:v>
                </c:pt>
                <c:pt idx="16">
                  <c:v>0</c:v>
                </c:pt>
                <c:pt idx="17">
                  <c:v>8</c:v>
                </c:pt>
                <c:pt idx="18">
                  <c:v>0</c:v>
                </c:pt>
                <c:pt idx="19">
                  <c:v>0</c:v>
                </c:pt>
                <c:pt idx="20">
                  <c:v>6</c:v>
                </c:pt>
                <c:pt idx="21">
                  <c:v>0</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C$2:$C$23</c:f>
              <c:numCache>
                <c:formatCode>General</c:formatCode>
                <c:ptCount val="22"/>
                <c:pt idx="0">
                  <c:v>1.1399999999999999</c:v>
                </c:pt>
                <c:pt idx="1">
                  <c:v>2.15</c:v>
                </c:pt>
                <c:pt idx="2">
                  <c:v>4.46</c:v>
                </c:pt>
                <c:pt idx="3">
                  <c:v>4</c:v>
                </c:pt>
                <c:pt idx="4">
                  <c:v>3.95</c:v>
                </c:pt>
                <c:pt idx="5">
                  <c:v>6.9</c:v>
                </c:pt>
                <c:pt idx="6">
                  <c:v>7.58</c:v>
                </c:pt>
                <c:pt idx="7">
                  <c:v>8.27</c:v>
                </c:pt>
                <c:pt idx="8">
                  <c:v>10.92</c:v>
                </c:pt>
                <c:pt idx="9">
                  <c:v>18.79</c:v>
                </c:pt>
                <c:pt idx="10">
                  <c:v>15.11</c:v>
                </c:pt>
                <c:pt idx="11">
                  <c:v>16.61</c:v>
                </c:pt>
                <c:pt idx="12">
                  <c:v>39</c:v>
                </c:pt>
                <c:pt idx="13">
                  <c:v>38.69</c:v>
                </c:pt>
                <c:pt idx="14">
                  <c:v>34.56</c:v>
                </c:pt>
                <c:pt idx="15">
                  <c:v>22.36</c:v>
                </c:pt>
                <c:pt idx="16">
                  <c:v>35.590000000000003</c:v>
                </c:pt>
                <c:pt idx="17">
                  <c:v>22.95</c:v>
                </c:pt>
                <c:pt idx="18">
                  <c:v>45.5</c:v>
                </c:pt>
                <c:pt idx="19">
                  <c:v>101.71</c:v>
                </c:pt>
                <c:pt idx="20">
                  <c:v>96.37</c:v>
                </c:pt>
                <c:pt idx="21">
                  <c:v>144.0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D$2:$D$23</c:f>
              <c:numCache>
                <c:formatCode>General</c:formatCode>
                <c:ptCount val="22"/>
                <c:pt idx="0">
                  <c:v>1.28</c:v>
                </c:pt>
                <c:pt idx="1">
                  <c:v>1.78</c:v>
                </c:pt>
                <c:pt idx="2">
                  <c:v>3.46</c:v>
                </c:pt>
                <c:pt idx="3">
                  <c:v>3.85</c:v>
                </c:pt>
                <c:pt idx="4">
                  <c:v>3.95</c:v>
                </c:pt>
                <c:pt idx="5">
                  <c:v>4.05</c:v>
                </c:pt>
                <c:pt idx="6">
                  <c:v>4.84</c:v>
                </c:pt>
                <c:pt idx="7">
                  <c:v>8.89</c:v>
                </c:pt>
                <c:pt idx="8">
                  <c:v>9.8800000000000008</c:v>
                </c:pt>
                <c:pt idx="9">
                  <c:v>11.85</c:v>
                </c:pt>
                <c:pt idx="10">
                  <c:v>12.24</c:v>
                </c:pt>
                <c:pt idx="11">
                  <c:v>14.22</c:v>
                </c:pt>
                <c:pt idx="12">
                  <c:v>21.23</c:v>
                </c:pt>
                <c:pt idx="13">
                  <c:v>24.29</c:v>
                </c:pt>
                <c:pt idx="14">
                  <c:v>24.59</c:v>
                </c:pt>
                <c:pt idx="15">
                  <c:v>26.37</c:v>
                </c:pt>
                <c:pt idx="16">
                  <c:v>28.54</c:v>
                </c:pt>
                <c:pt idx="17">
                  <c:v>30.12</c:v>
                </c:pt>
                <c:pt idx="18">
                  <c:v>42.66</c:v>
                </c:pt>
                <c:pt idx="19">
                  <c:v>92.43</c:v>
                </c:pt>
                <c:pt idx="20">
                  <c:v>94.8</c:v>
                </c:pt>
                <c:pt idx="21">
                  <c:v>11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rPr lang="en-US"/>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rPr lang="en-US"/>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E$2:$E$23</c:f>
              <c:numCache>
                <c:formatCode>General</c:formatCode>
                <c:ptCount val="22"/>
                <c:pt idx="0">
                  <c:v>1.21</c:v>
                </c:pt>
                <c:pt idx="1">
                  <c:v>1.9649999999999999</c:v>
                </c:pt>
                <c:pt idx="2">
                  <c:v>3.96</c:v>
                </c:pt>
                <c:pt idx="3">
                  <c:v>3.9249999999999998</c:v>
                </c:pt>
                <c:pt idx="4">
                  <c:v>3.95</c:v>
                </c:pt>
                <c:pt idx="5">
                  <c:v>5.4749999999999996</c:v>
                </c:pt>
                <c:pt idx="6">
                  <c:v>6.21</c:v>
                </c:pt>
                <c:pt idx="7">
                  <c:v>8.58</c:v>
                </c:pt>
                <c:pt idx="8">
                  <c:v>10.4</c:v>
                </c:pt>
                <c:pt idx="9">
                  <c:v>15.32</c:v>
                </c:pt>
                <c:pt idx="10">
                  <c:v>13.675000000000001</c:v>
                </c:pt>
                <c:pt idx="11">
                  <c:v>15.414999999999999</c:v>
                </c:pt>
                <c:pt idx="12">
                  <c:v>30.115000000000002</c:v>
                </c:pt>
                <c:pt idx="13">
                  <c:v>31.49</c:v>
                </c:pt>
                <c:pt idx="14">
                  <c:v>29.575000000000003</c:v>
                </c:pt>
                <c:pt idx="15">
                  <c:v>24.365000000000002</c:v>
                </c:pt>
                <c:pt idx="16">
                  <c:v>32.064999999999998</c:v>
                </c:pt>
                <c:pt idx="17">
                  <c:v>26.535</c:v>
                </c:pt>
                <c:pt idx="18">
                  <c:v>44.08</c:v>
                </c:pt>
                <c:pt idx="19">
                  <c:v>97.07</c:v>
                </c:pt>
                <c:pt idx="20">
                  <c:v>95.585000000000008</c:v>
                </c:pt>
                <c:pt idx="21">
                  <c:v>131.2699999999999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scaling>
        <c:delete val="0"/>
        <c:axPos val="r"/>
        <c:numFmt formatCode="General"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B$2:$B$23</c:f>
              <c:numCache>
                <c:formatCode>General</c:formatCode>
                <c:ptCount val="22"/>
                <c:pt idx="0">
                  <c:v>13</c:v>
                </c:pt>
                <c:pt idx="1">
                  <c:v>1</c:v>
                </c:pt>
                <c:pt idx="2">
                  <c:v>5</c:v>
                </c:pt>
                <c:pt idx="3">
                  <c:v>14</c:v>
                </c:pt>
                <c:pt idx="4">
                  <c:v>123</c:v>
                </c:pt>
                <c:pt idx="5">
                  <c:v>0</c:v>
                </c:pt>
                <c:pt idx="6">
                  <c:v>0</c:v>
                </c:pt>
                <c:pt idx="7">
                  <c:v>0</c:v>
                </c:pt>
                <c:pt idx="8">
                  <c:v>13</c:v>
                </c:pt>
                <c:pt idx="9">
                  <c:v>0</c:v>
                </c:pt>
                <c:pt idx="10">
                  <c:v>0</c:v>
                </c:pt>
                <c:pt idx="11">
                  <c:v>0</c:v>
                </c:pt>
                <c:pt idx="12">
                  <c:v>0</c:v>
                </c:pt>
                <c:pt idx="13">
                  <c:v>0</c:v>
                </c:pt>
                <c:pt idx="14">
                  <c:v>0</c:v>
                </c:pt>
                <c:pt idx="15">
                  <c:v>1</c:v>
                </c:pt>
                <c:pt idx="16">
                  <c:v>0</c:v>
                </c:pt>
                <c:pt idx="17">
                  <c:v>8</c:v>
                </c:pt>
                <c:pt idx="18">
                  <c:v>0</c:v>
                </c:pt>
                <c:pt idx="19">
                  <c:v>0</c:v>
                </c:pt>
                <c:pt idx="20">
                  <c:v>6</c:v>
                </c:pt>
                <c:pt idx="21">
                  <c:v>0</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C$2:$C$23</c:f>
              <c:numCache>
                <c:formatCode>General</c:formatCode>
                <c:ptCount val="22"/>
                <c:pt idx="0">
                  <c:v>1.1399999999999999</c:v>
                </c:pt>
                <c:pt idx="1">
                  <c:v>2.15</c:v>
                </c:pt>
                <c:pt idx="2">
                  <c:v>4.46</c:v>
                </c:pt>
                <c:pt idx="3">
                  <c:v>4</c:v>
                </c:pt>
                <c:pt idx="4">
                  <c:v>3.95</c:v>
                </c:pt>
                <c:pt idx="5">
                  <c:v>6.9</c:v>
                </c:pt>
                <c:pt idx="6">
                  <c:v>7.58</c:v>
                </c:pt>
                <c:pt idx="7">
                  <c:v>8.27</c:v>
                </c:pt>
                <c:pt idx="8">
                  <c:v>10.92</c:v>
                </c:pt>
                <c:pt idx="9">
                  <c:v>18.79</c:v>
                </c:pt>
                <c:pt idx="10">
                  <c:v>15.11</c:v>
                </c:pt>
                <c:pt idx="11">
                  <c:v>16.61</c:v>
                </c:pt>
                <c:pt idx="12">
                  <c:v>39</c:v>
                </c:pt>
                <c:pt idx="13">
                  <c:v>38.69</c:v>
                </c:pt>
                <c:pt idx="14">
                  <c:v>34.56</c:v>
                </c:pt>
                <c:pt idx="15">
                  <c:v>22.36</c:v>
                </c:pt>
                <c:pt idx="16">
                  <c:v>35.590000000000003</c:v>
                </c:pt>
                <c:pt idx="17">
                  <c:v>22.95</c:v>
                </c:pt>
                <c:pt idx="18">
                  <c:v>45.5</c:v>
                </c:pt>
                <c:pt idx="19">
                  <c:v>101.71</c:v>
                </c:pt>
                <c:pt idx="20">
                  <c:v>96.37</c:v>
                </c:pt>
                <c:pt idx="21">
                  <c:v>144.0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D$2:$D$23</c:f>
              <c:numCache>
                <c:formatCode>General</c:formatCode>
                <c:ptCount val="22"/>
                <c:pt idx="0">
                  <c:v>1.28</c:v>
                </c:pt>
                <c:pt idx="1">
                  <c:v>1.78</c:v>
                </c:pt>
                <c:pt idx="2">
                  <c:v>3.46</c:v>
                </c:pt>
                <c:pt idx="3">
                  <c:v>3.85</c:v>
                </c:pt>
                <c:pt idx="4">
                  <c:v>3.95</c:v>
                </c:pt>
                <c:pt idx="5">
                  <c:v>4.05</c:v>
                </c:pt>
                <c:pt idx="6">
                  <c:v>4.84</c:v>
                </c:pt>
                <c:pt idx="7">
                  <c:v>8.89</c:v>
                </c:pt>
                <c:pt idx="8">
                  <c:v>9.8800000000000008</c:v>
                </c:pt>
                <c:pt idx="9">
                  <c:v>11.85</c:v>
                </c:pt>
                <c:pt idx="10">
                  <c:v>12.24</c:v>
                </c:pt>
                <c:pt idx="11">
                  <c:v>14.22</c:v>
                </c:pt>
                <c:pt idx="12">
                  <c:v>21.23</c:v>
                </c:pt>
                <c:pt idx="13">
                  <c:v>24.29</c:v>
                </c:pt>
                <c:pt idx="14">
                  <c:v>24.59</c:v>
                </c:pt>
                <c:pt idx="15">
                  <c:v>26.37</c:v>
                </c:pt>
                <c:pt idx="16">
                  <c:v>28.54</c:v>
                </c:pt>
                <c:pt idx="17">
                  <c:v>30.12</c:v>
                </c:pt>
                <c:pt idx="18">
                  <c:v>42.66</c:v>
                </c:pt>
                <c:pt idx="19">
                  <c:v>92.43</c:v>
                </c:pt>
                <c:pt idx="20">
                  <c:v>94.8</c:v>
                </c:pt>
                <c:pt idx="21">
                  <c:v>11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rPr lang="en-US"/>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rPr lang="en-US"/>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E$2:$E$23</c:f>
              <c:numCache>
                <c:formatCode>General</c:formatCode>
                <c:ptCount val="22"/>
                <c:pt idx="0">
                  <c:v>1.21</c:v>
                </c:pt>
                <c:pt idx="1">
                  <c:v>1.9649999999999999</c:v>
                </c:pt>
                <c:pt idx="2">
                  <c:v>3.96</c:v>
                </c:pt>
                <c:pt idx="3">
                  <c:v>3.9249999999999998</c:v>
                </c:pt>
                <c:pt idx="4">
                  <c:v>3.95</c:v>
                </c:pt>
                <c:pt idx="5">
                  <c:v>5.4749999999999996</c:v>
                </c:pt>
                <c:pt idx="6">
                  <c:v>6.21</c:v>
                </c:pt>
                <c:pt idx="7">
                  <c:v>8.58</c:v>
                </c:pt>
                <c:pt idx="8">
                  <c:v>10.4</c:v>
                </c:pt>
                <c:pt idx="9">
                  <c:v>15.32</c:v>
                </c:pt>
                <c:pt idx="10">
                  <c:v>13.675000000000001</c:v>
                </c:pt>
                <c:pt idx="11">
                  <c:v>15.414999999999999</c:v>
                </c:pt>
                <c:pt idx="12">
                  <c:v>30.115000000000002</c:v>
                </c:pt>
                <c:pt idx="13">
                  <c:v>31.49</c:v>
                </c:pt>
                <c:pt idx="14">
                  <c:v>29.575000000000003</c:v>
                </c:pt>
                <c:pt idx="15">
                  <c:v>24.365000000000002</c:v>
                </c:pt>
                <c:pt idx="16">
                  <c:v>32.064999999999998</c:v>
                </c:pt>
                <c:pt idx="17">
                  <c:v>26.535</c:v>
                </c:pt>
                <c:pt idx="18">
                  <c:v>44.08</c:v>
                </c:pt>
                <c:pt idx="19">
                  <c:v>97.07</c:v>
                </c:pt>
                <c:pt idx="20">
                  <c:v>95.585000000000008</c:v>
                </c:pt>
                <c:pt idx="21">
                  <c:v>131.2699999999999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scaling>
        <c:delete val="0"/>
        <c:axPos val="r"/>
        <c:numFmt formatCode="General"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B$2:$B$23</c:f>
              <c:numCache>
                <c:formatCode>General</c:formatCode>
                <c:ptCount val="22"/>
                <c:pt idx="0">
                  <c:v>13</c:v>
                </c:pt>
                <c:pt idx="1">
                  <c:v>1</c:v>
                </c:pt>
                <c:pt idx="2">
                  <c:v>5</c:v>
                </c:pt>
                <c:pt idx="3">
                  <c:v>14</c:v>
                </c:pt>
                <c:pt idx="4">
                  <c:v>123</c:v>
                </c:pt>
                <c:pt idx="5">
                  <c:v>0</c:v>
                </c:pt>
                <c:pt idx="6">
                  <c:v>0</c:v>
                </c:pt>
                <c:pt idx="7">
                  <c:v>0</c:v>
                </c:pt>
                <c:pt idx="8">
                  <c:v>13</c:v>
                </c:pt>
                <c:pt idx="9">
                  <c:v>0</c:v>
                </c:pt>
                <c:pt idx="10">
                  <c:v>0</c:v>
                </c:pt>
                <c:pt idx="11">
                  <c:v>0</c:v>
                </c:pt>
                <c:pt idx="12">
                  <c:v>0</c:v>
                </c:pt>
                <c:pt idx="13">
                  <c:v>0</c:v>
                </c:pt>
                <c:pt idx="14">
                  <c:v>0</c:v>
                </c:pt>
                <c:pt idx="15">
                  <c:v>1</c:v>
                </c:pt>
                <c:pt idx="16">
                  <c:v>0</c:v>
                </c:pt>
                <c:pt idx="17">
                  <c:v>8</c:v>
                </c:pt>
                <c:pt idx="18">
                  <c:v>0</c:v>
                </c:pt>
                <c:pt idx="19">
                  <c:v>0</c:v>
                </c:pt>
                <c:pt idx="20">
                  <c:v>6</c:v>
                </c:pt>
                <c:pt idx="21">
                  <c:v>0</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C$2:$C$23</c:f>
              <c:numCache>
                <c:formatCode>General</c:formatCode>
                <c:ptCount val="22"/>
                <c:pt idx="0">
                  <c:v>1.1399999999999999</c:v>
                </c:pt>
                <c:pt idx="1">
                  <c:v>2.15</c:v>
                </c:pt>
                <c:pt idx="2">
                  <c:v>4.46</c:v>
                </c:pt>
                <c:pt idx="3">
                  <c:v>4</c:v>
                </c:pt>
                <c:pt idx="4">
                  <c:v>3.95</c:v>
                </c:pt>
                <c:pt idx="5">
                  <c:v>6.9</c:v>
                </c:pt>
                <c:pt idx="6">
                  <c:v>7.58</c:v>
                </c:pt>
                <c:pt idx="7">
                  <c:v>8.27</c:v>
                </c:pt>
                <c:pt idx="8">
                  <c:v>10.92</c:v>
                </c:pt>
                <c:pt idx="9">
                  <c:v>18.79</c:v>
                </c:pt>
                <c:pt idx="10">
                  <c:v>15.11</c:v>
                </c:pt>
                <c:pt idx="11">
                  <c:v>16.61</c:v>
                </c:pt>
                <c:pt idx="12">
                  <c:v>39</c:v>
                </c:pt>
                <c:pt idx="13">
                  <c:v>38.69</c:v>
                </c:pt>
                <c:pt idx="14">
                  <c:v>34.56</c:v>
                </c:pt>
                <c:pt idx="15">
                  <c:v>22.36</c:v>
                </c:pt>
                <c:pt idx="16">
                  <c:v>35.590000000000003</c:v>
                </c:pt>
                <c:pt idx="17">
                  <c:v>22.95</c:v>
                </c:pt>
                <c:pt idx="18">
                  <c:v>45.5</c:v>
                </c:pt>
                <c:pt idx="19">
                  <c:v>101.71</c:v>
                </c:pt>
                <c:pt idx="20">
                  <c:v>96.37</c:v>
                </c:pt>
                <c:pt idx="21">
                  <c:v>144.0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D$2:$D$23</c:f>
              <c:numCache>
                <c:formatCode>General</c:formatCode>
                <c:ptCount val="22"/>
                <c:pt idx="0">
                  <c:v>1.28</c:v>
                </c:pt>
                <c:pt idx="1">
                  <c:v>1.78</c:v>
                </c:pt>
                <c:pt idx="2">
                  <c:v>3.46</c:v>
                </c:pt>
                <c:pt idx="3">
                  <c:v>3.85</c:v>
                </c:pt>
                <c:pt idx="4">
                  <c:v>3.95</c:v>
                </c:pt>
                <c:pt idx="5">
                  <c:v>4.05</c:v>
                </c:pt>
                <c:pt idx="6">
                  <c:v>4.84</c:v>
                </c:pt>
                <c:pt idx="7">
                  <c:v>8.89</c:v>
                </c:pt>
                <c:pt idx="8">
                  <c:v>9.8800000000000008</c:v>
                </c:pt>
                <c:pt idx="9">
                  <c:v>11.85</c:v>
                </c:pt>
                <c:pt idx="10">
                  <c:v>12.24</c:v>
                </c:pt>
                <c:pt idx="11">
                  <c:v>14.22</c:v>
                </c:pt>
                <c:pt idx="12">
                  <c:v>21.23</c:v>
                </c:pt>
                <c:pt idx="13">
                  <c:v>24.29</c:v>
                </c:pt>
                <c:pt idx="14">
                  <c:v>24.59</c:v>
                </c:pt>
                <c:pt idx="15">
                  <c:v>26.37</c:v>
                </c:pt>
                <c:pt idx="16">
                  <c:v>28.54</c:v>
                </c:pt>
                <c:pt idx="17">
                  <c:v>30.12</c:v>
                </c:pt>
                <c:pt idx="18">
                  <c:v>42.66</c:v>
                </c:pt>
                <c:pt idx="19">
                  <c:v>92.43</c:v>
                </c:pt>
                <c:pt idx="20">
                  <c:v>94.8</c:v>
                </c:pt>
                <c:pt idx="21">
                  <c:v>11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rPr lang="en-US"/>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rPr lang="en-US"/>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E$2:$E$23</c:f>
              <c:numCache>
                <c:formatCode>General</c:formatCode>
                <c:ptCount val="22"/>
                <c:pt idx="0">
                  <c:v>1.21</c:v>
                </c:pt>
                <c:pt idx="1">
                  <c:v>1.9649999999999999</c:v>
                </c:pt>
                <c:pt idx="2">
                  <c:v>3.96</c:v>
                </c:pt>
                <c:pt idx="3">
                  <c:v>3.9249999999999998</c:v>
                </c:pt>
                <c:pt idx="4">
                  <c:v>3.95</c:v>
                </c:pt>
                <c:pt idx="5">
                  <c:v>5.4749999999999996</c:v>
                </c:pt>
                <c:pt idx="6">
                  <c:v>6.21</c:v>
                </c:pt>
                <c:pt idx="7">
                  <c:v>8.58</c:v>
                </c:pt>
                <c:pt idx="8">
                  <c:v>10.4</c:v>
                </c:pt>
                <c:pt idx="9">
                  <c:v>15.32</c:v>
                </c:pt>
                <c:pt idx="10">
                  <c:v>13.675000000000001</c:v>
                </c:pt>
                <c:pt idx="11">
                  <c:v>15.414999999999999</c:v>
                </c:pt>
                <c:pt idx="12">
                  <c:v>30.115000000000002</c:v>
                </c:pt>
                <c:pt idx="13">
                  <c:v>31.49</c:v>
                </c:pt>
                <c:pt idx="14">
                  <c:v>29.575000000000003</c:v>
                </c:pt>
                <c:pt idx="15">
                  <c:v>24.365000000000002</c:v>
                </c:pt>
                <c:pt idx="16">
                  <c:v>32.064999999999998</c:v>
                </c:pt>
                <c:pt idx="17">
                  <c:v>26.535</c:v>
                </c:pt>
                <c:pt idx="18">
                  <c:v>44.08</c:v>
                </c:pt>
                <c:pt idx="19">
                  <c:v>97.07</c:v>
                </c:pt>
                <c:pt idx="20">
                  <c:v>95.585000000000008</c:v>
                </c:pt>
                <c:pt idx="21">
                  <c:v>131.2699999999999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scaling>
        <c:delete val="0"/>
        <c:axPos val="r"/>
        <c:numFmt formatCode="General"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B$2:$B$23</c:f>
              <c:numCache>
                <c:formatCode>General</c:formatCode>
                <c:ptCount val="22"/>
                <c:pt idx="0">
                  <c:v>13</c:v>
                </c:pt>
                <c:pt idx="1">
                  <c:v>1</c:v>
                </c:pt>
                <c:pt idx="2">
                  <c:v>5</c:v>
                </c:pt>
                <c:pt idx="3">
                  <c:v>14</c:v>
                </c:pt>
                <c:pt idx="4">
                  <c:v>123</c:v>
                </c:pt>
                <c:pt idx="5">
                  <c:v>0</c:v>
                </c:pt>
                <c:pt idx="6">
                  <c:v>0</c:v>
                </c:pt>
                <c:pt idx="7">
                  <c:v>0</c:v>
                </c:pt>
                <c:pt idx="8">
                  <c:v>13</c:v>
                </c:pt>
                <c:pt idx="9">
                  <c:v>0</c:v>
                </c:pt>
                <c:pt idx="10">
                  <c:v>0</c:v>
                </c:pt>
                <c:pt idx="11">
                  <c:v>0</c:v>
                </c:pt>
                <c:pt idx="12">
                  <c:v>0</c:v>
                </c:pt>
                <c:pt idx="13">
                  <c:v>0</c:v>
                </c:pt>
                <c:pt idx="14">
                  <c:v>0</c:v>
                </c:pt>
                <c:pt idx="15">
                  <c:v>1</c:v>
                </c:pt>
                <c:pt idx="16">
                  <c:v>0</c:v>
                </c:pt>
                <c:pt idx="17">
                  <c:v>8</c:v>
                </c:pt>
                <c:pt idx="18">
                  <c:v>0</c:v>
                </c:pt>
                <c:pt idx="19">
                  <c:v>0</c:v>
                </c:pt>
                <c:pt idx="20">
                  <c:v>6</c:v>
                </c:pt>
                <c:pt idx="21">
                  <c:v>0</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C$2:$C$23</c:f>
              <c:numCache>
                <c:formatCode>General</c:formatCode>
                <c:ptCount val="22"/>
                <c:pt idx="0">
                  <c:v>1.1399999999999999</c:v>
                </c:pt>
                <c:pt idx="1">
                  <c:v>2.15</c:v>
                </c:pt>
                <c:pt idx="2">
                  <c:v>4.46</c:v>
                </c:pt>
                <c:pt idx="3">
                  <c:v>4</c:v>
                </c:pt>
                <c:pt idx="4">
                  <c:v>3.95</c:v>
                </c:pt>
                <c:pt idx="5">
                  <c:v>6.9</c:v>
                </c:pt>
                <c:pt idx="6">
                  <c:v>7.58</c:v>
                </c:pt>
                <c:pt idx="7">
                  <c:v>8.27</c:v>
                </c:pt>
                <c:pt idx="8">
                  <c:v>10.92</c:v>
                </c:pt>
                <c:pt idx="9">
                  <c:v>18.79</c:v>
                </c:pt>
                <c:pt idx="10">
                  <c:v>15.11</c:v>
                </c:pt>
                <c:pt idx="11">
                  <c:v>16.61</c:v>
                </c:pt>
                <c:pt idx="12">
                  <c:v>39</c:v>
                </c:pt>
                <c:pt idx="13">
                  <c:v>38.69</c:v>
                </c:pt>
                <c:pt idx="14">
                  <c:v>34.56</c:v>
                </c:pt>
                <c:pt idx="15">
                  <c:v>22.36</c:v>
                </c:pt>
                <c:pt idx="16">
                  <c:v>35.590000000000003</c:v>
                </c:pt>
                <c:pt idx="17">
                  <c:v>22.95</c:v>
                </c:pt>
                <c:pt idx="18">
                  <c:v>45.5</c:v>
                </c:pt>
                <c:pt idx="19">
                  <c:v>101.71</c:v>
                </c:pt>
                <c:pt idx="20">
                  <c:v>96.37</c:v>
                </c:pt>
                <c:pt idx="21">
                  <c:v>144.0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D$2:$D$23</c:f>
              <c:numCache>
                <c:formatCode>General</c:formatCode>
                <c:ptCount val="22"/>
                <c:pt idx="0">
                  <c:v>1.28</c:v>
                </c:pt>
                <c:pt idx="1">
                  <c:v>1.78</c:v>
                </c:pt>
                <c:pt idx="2">
                  <c:v>3.46</c:v>
                </c:pt>
                <c:pt idx="3">
                  <c:v>3.85</c:v>
                </c:pt>
                <c:pt idx="4">
                  <c:v>3.95</c:v>
                </c:pt>
                <c:pt idx="5">
                  <c:v>4.05</c:v>
                </c:pt>
                <c:pt idx="6">
                  <c:v>4.84</c:v>
                </c:pt>
                <c:pt idx="7">
                  <c:v>8.89</c:v>
                </c:pt>
                <c:pt idx="8">
                  <c:v>9.8800000000000008</c:v>
                </c:pt>
                <c:pt idx="9">
                  <c:v>11.85</c:v>
                </c:pt>
                <c:pt idx="10">
                  <c:v>12.24</c:v>
                </c:pt>
                <c:pt idx="11">
                  <c:v>14.22</c:v>
                </c:pt>
                <c:pt idx="12">
                  <c:v>21.23</c:v>
                </c:pt>
                <c:pt idx="13">
                  <c:v>24.29</c:v>
                </c:pt>
                <c:pt idx="14">
                  <c:v>24.59</c:v>
                </c:pt>
                <c:pt idx="15">
                  <c:v>26.37</c:v>
                </c:pt>
                <c:pt idx="16">
                  <c:v>28.54</c:v>
                </c:pt>
                <c:pt idx="17">
                  <c:v>30.12</c:v>
                </c:pt>
                <c:pt idx="18">
                  <c:v>42.66</c:v>
                </c:pt>
                <c:pt idx="19">
                  <c:v>92.43</c:v>
                </c:pt>
                <c:pt idx="20">
                  <c:v>94.8</c:v>
                </c:pt>
                <c:pt idx="21">
                  <c:v>11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rPr lang="en-US"/>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rPr lang="en-US"/>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E$2:$E$23</c:f>
              <c:numCache>
                <c:formatCode>General</c:formatCode>
                <c:ptCount val="22"/>
                <c:pt idx="0">
                  <c:v>1.21</c:v>
                </c:pt>
                <c:pt idx="1">
                  <c:v>1.9649999999999999</c:v>
                </c:pt>
                <c:pt idx="2">
                  <c:v>3.96</c:v>
                </c:pt>
                <c:pt idx="3">
                  <c:v>3.9249999999999998</c:v>
                </c:pt>
                <c:pt idx="4">
                  <c:v>3.95</c:v>
                </c:pt>
                <c:pt idx="5">
                  <c:v>5.4749999999999996</c:v>
                </c:pt>
                <c:pt idx="6">
                  <c:v>6.21</c:v>
                </c:pt>
                <c:pt idx="7">
                  <c:v>8.58</c:v>
                </c:pt>
                <c:pt idx="8">
                  <c:v>10.4</c:v>
                </c:pt>
                <c:pt idx="9">
                  <c:v>15.32</c:v>
                </c:pt>
                <c:pt idx="10">
                  <c:v>13.675000000000001</c:v>
                </c:pt>
                <c:pt idx="11">
                  <c:v>15.414999999999999</c:v>
                </c:pt>
                <c:pt idx="12">
                  <c:v>30.115000000000002</c:v>
                </c:pt>
                <c:pt idx="13">
                  <c:v>31.49</c:v>
                </c:pt>
                <c:pt idx="14">
                  <c:v>29.575000000000003</c:v>
                </c:pt>
                <c:pt idx="15">
                  <c:v>24.365000000000002</c:v>
                </c:pt>
                <c:pt idx="16">
                  <c:v>32.064999999999998</c:v>
                </c:pt>
                <c:pt idx="17">
                  <c:v>26.535</c:v>
                </c:pt>
                <c:pt idx="18">
                  <c:v>44.08</c:v>
                </c:pt>
                <c:pt idx="19">
                  <c:v>97.07</c:v>
                </c:pt>
                <c:pt idx="20">
                  <c:v>95.585000000000008</c:v>
                </c:pt>
                <c:pt idx="21">
                  <c:v>131.2699999999999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scaling>
        <c:delete val="0"/>
        <c:axPos val="r"/>
        <c:numFmt formatCode="General"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B$2:$B$23</c:f>
              <c:numCache>
                <c:formatCode>General</c:formatCode>
                <c:ptCount val="22"/>
                <c:pt idx="0">
                  <c:v>13</c:v>
                </c:pt>
                <c:pt idx="1">
                  <c:v>1</c:v>
                </c:pt>
                <c:pt idx="2">
                  <c:v>5</c:v>
                </c:pt>
                <c:pt idx="3">
                  <c:v>14</c:v>
                </c:pt>
                <c:pt idx="4">
                  <c:v>123</c:v>
                </c:pt>
                <c:pt idx="5">
                  <c:v>0</c:v>
                </c:pt>
                <c:pt idx="6">
                  <c:v>0</c:v>
                </c:pt>
                <c:pt idx="7">
                  <c:v>0</c:v>
                </c:pt>
                <c:pt idx="8">
                  <c:v>13</c:v>
                </c:pt>
                <c:pt idx="9">
                  <c:v>0</c:v>
                </c:pt>
                <c:pt idx="10">
                  <c:v>0</c:v>
                </c:pt>
                <c:pt idx="11">
                  <c:v>0</c:v>
                </c:pt>
                <c:pt idx="12">
                  <c:v>0</c:v>
                </c:pt>
                <c:pt idx="13">
                  <c:v>0</c:v>
                </c:pt>
                <c:pt idx="14">
                  <c:v>0</c:v>
                </c:pt>
                <c:pt idx="15">
                  <c:v>1</c:v>
                </c:pt>
                <c:pt idx="16">
                  <c:v>0</c:v>
                </c:pt>
                <c:pt idx="17">
                  <c:v>8</c:v>
                </c:pt>
                <c:pt idx="18">
                  <c:v>0</c:v>
                </c:pt>
                <c:pt idx="19">
                  <c:v>0</c:v>
                </c:pt>
                <c:pt idx="20">
                  <c:v>6</c:v>
                </c:pt>
                <c:pt idx="21">
                  <c:v>0</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C$2:$C$23</c:f>
              <c:numCache>
                <c:formatCode>General</c:formatCode>
                <c:ptCount val="22"/>
                <c:pt idx="0">
                  <c:v>1.1399999999999999</c:v>
                </c:pt>
                <c:pt idx="1">
                  <c:v>2.15</c:v>
                </c:pt>
                <c:pt idx="2">
                  <c:v>4.46</c:v>
                </c:pt>
                <c:pt idx="3">
                  <c:v>4</c:v>
                </c:pt>
                <c:pt idx="4">
                  <c:v>3.95</c:v>
                </c:pt>
                <c:pt idx="5">
                  <c:v>6.9</c:v>
                </c:pt>
                <c:pt idx="6">
                  <c:v>7.58</c:v>
                </c:pt>
                <c:pt idx="7">
                  <c:v>8.27</c:v>
                </c:pt>
                <c:pt idx="8">
                  <c:v>10.92</c:v>
                </c:pt>
                <c:pt idx="9">
                  <c:v>18.79</c:v>
                </c:pt>
                <c:pt idx="10">
                  <c:v>15.11</c:v>
                </c:pt>
                <c:pt idx="11">
                  <c:v>16.61</c:v>
                </c:pt>
                <c:pt idx="12">
                  <c:v>39</c:v>
                </c:pt>
                <c:pt idx="13">
                  <c:v>38.69</c:v>
                </c:pt>
                <c:pt idx="14">
                  <c:v>34.56</c:v>
                </c:pt>
                <c:pt idx="15">
                  <c:v>22.36</c:v>
                </c:pt>
                <c:pt idx="16">
                  <c:v>35.590000000000003</c:v>
                </c:pt>
                <c:pt idx="17">
                  <c:v>22.95</c:v>
                </c:pt>
                <c:pt idx="18">
                  <c:v>45.5</c:v>
                </c:pt>
                <c:pt idx="19">
                  <c:v>101.71</c:v>
                </c:pt>
                <c:pt idx="20">
                  <c:v>96.37</c:v>
                </c:pt>
                <c:pt idx="21">
                  <c:v>144.0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D$2:$D$23</c:f>
              <c:numCache>
                <c:formatCode>General</c:formatCode>
                <c:ptCount val="22"/>
                <c:pt idx="0">
                  <c:v>1.28</c:v>
                </c:pt>
                <c:pt idx="1">
                  <c:v>1.78</c:v>
                </c:pt>
                <c:pt idx="2">
                  <c:v>3.46</c:v>
                </c:pt>
                <c:pt idx="3">
                  <c:v>3.85</c:v>
                </c:pt>
                <c:pt idx="4">
                  <c:v>3.95</c:v>
                </c:pt>
                <c:pt idx="5">
                  <c:v>4.05</c:v>
                </c:pt>
                <c:pt idx="6">
                  <c:v>4.84</c:v>
                </c:pt>
                <c:pt idx="7">
                  <c:v>8.89</c:v>
                </c:pt>
                <c:pt idx="8">
                  <c:v>9.8800000000000008</c:v>
                </c:pt>
                <c:pt idx="9">
                  <c:v>11.85</c:v>
                </c:pt>
                <c:pt idx="10">
                  <c:v>12.24</c:v>
                </c:pt>
                <c:pt idx="11">
                  <c:v>14.22</c:v>
                </c:pt>
                <c:pt idx="12">
                  <c:v>21.23</c:v>
                </c:pt>
                <c:pt idx="13">
                  <c:v>24.29</c:v>
                </c:pt>
                <c:pt idx="14">
                  <c:v>24.59</c:v>
                </c:pt>
                <c:pt idx="15">
                  <c:v>26.37</c:v>
                </c:pt>
                <c:pt idx="16">
                  <c:v>28.54</c:v>
                </c:pt>
                <c:pt idx="17">
                  <c:v>30.12</c:v>
                </c:pt>
                <c:pt idx="18">
                  <c:v>42.66</c:v>
                </c:pt>
                <c:pt idx="19">
                  <c:v>92.43</c:v>
                </c:pt>
                <c:pt idx="20">
                  <c:v>94.8</c:v>
                </c:pt>
                <c:pt idx="21">
                  <c:v>11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rPr lang="en-US"/>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rPr lang="en-US"/>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E$2:$E$23</c:f>
              <c:numCache>
                <c:formatCode>General</c:formatCode>
                <c:ptCount val="22"/>
                <c:pt idx="0">
                  <c:v>1.21</c:v>
                </c:pt>
                <c:pt idx="1">
                  <c:v>1.9649999999999999</c:v>
                </c:pt>
                <c:pt idx="2">
                  <c:v>3.96</c:v>
                </c:pt>
                <c:pt idx="3">
                  <c:v>3.9249999999999998</c:v>
                </c:pt>
                <c:pt idx="4">
                  <c:v>3.95</c:v>
                </c:pt>
                <c:pt idx="5">
                  <c:v>5.4749999999999996</c:v>
                </c:pt>
                <c:pt idx="6">
                  <c:v>6.21</c:v>
                </c:pt>
                <c:pt idx="7">
                  <c:v>8.58</c:v>
                </c:pt>
                <c:pt idx="8">
                  <c:v>10.4</c:v>
                </c:pt>
                <c:pt idx="9">
                  <c:v>15.32</c:v>
                </c:pt>
                <c:pt idx="10">
                  <c:v>13.675000000000001</c:v>
                </c:pt>
                <c:pt idx="11">
                  <c:v>15.414999999999999</c:v>
                </c:pt>
                <c:pt idx="12">
                  <c:v>30.115000000000002</c:v>
                </c:pt>
                <c:pt idx="13">
                  <c:v>31.49</c:v>
                </c:pt>
                <c:pt idx="14">
                  <c:v>29.575000000000003</c:v>
                </c:pt>
                <c:pt idx="15">
                  <c:v>24.365000000000002</c:v>
                </c:pt>
                <c:pt idx="16">
                  <c:v>32.064999999999998</c:v>
                </c:pt>
                <c:pt idx="17">
                  <c:v>26.535</c:v>
                </c:pt>
                <c:pt idx="18">
                  <c:v>44.08</c:v>
                </c:pt>
                <c:pt idx="19">
                  <c:v>97.07</c:v>
                </c:pt>
                <c:pt idx="20">
                  <c:v>95.585000000000008</c:v>
                </c:pt>
                <c:pt idx="21">
                  <c:v>131.2699999999999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scaling>
        <c:delete val="0"/>
        <c:axPos val="r"/>
        <c:numFmt formatCode="General"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B$2:$B$23</c:f>
              <c:numCache>
                <c:formatCode>General</c:formatCode>
                <c:ptCount val="22"/>
                <c:pt idx="0">
                  <c:v>13</c:v>
                </c:pt>
                <c:pt idx="1">
                  <c:v>1</c:v>
                </c:pt>
                <c:pt idx="2">
                  <c:v>5</c:v>
                </c:pt>
                <c:pt idx="3">
                  <c:v>14</c:v>
                </c:pt>
                <c:pt idx="4">
                  <c:v>123</c:v>
                </c:pt>
                <c:pt idx="5">
                  <c:v>0</c:v>
                </c:pt>
                <c:pt idx="6">
                  <c:v>0</c:v>
                </c:pt>
                <c:pt idx="7">
                  <c:v>0</c:v>
                </c:pt>
                <c:pt idx="8">
                  <c:v>13</c:v>
                </c:pt>
                <c:pt idx="9">
                  <c:v>0</c:v>
                </c:pt>
                <c:pt idx="10">
                  <c:v>0</c:v>
                </c:pt>
                <c:pt idx="11">
                  <c:v>0</c:v>
                </c:pt>
                <c:pt idx="12">
                  <c:v>0</c:v>
                </c:pt>
                <c:pt idx="13">
                  <c:v>0</c:v>
                </c:pt>
                <c:pt idx="14">
                  <c:v>0</c:v>
                </c:pt>
                <c:pt idx="15">
                  <c:v>1</c:v>
                </c:pt>
                <c:pt idx="16">
                  <c:v>0</c:v>
                </c:pt>
                <c:pt idx="17">
                  <c:v>8</c:v>
                </c:pt>
                <c:pt idx="18">
                  <c:v>0</c:v>
                </c:pt>
                <c:pt idx="19">
                  <c:v>0</c:v>
                </c:pt>
                <c:pt idx="20">
                  <c:v>6</c:v>
                </c:pt>
                <c:pt idx="21">
                  <c:v>0</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C$2:$C$23</c:f>
              <c:numCache>
                <c:formatCode>General</c:formatCode>
                <c:ptCount val="22"/>
                <c:pt idx="0">
                  <c:v>1.1399999999999999</c:v>
                </c:pt>
                <c:pt idx="1">
                  <c:v>2.15</c:v>
                </c:pt>
                <c:pt idx="2">
                  <c:v>4.46</c:v>
                </c:pt>
                <c:pt idx="3">
                  <c:v>4</c:v>
                </c:pt>
                <c:pt idx="4">
                  <c:v>3.95</c:v>
                </c:pt>
                <c:pt idx="5">
                  <c:v>6.9</c:v>
                </c:pt>
                <c:pt idx="6">
                  <c:v>7.58</c:v>
                </c:pt>
                <c:pt idx="7">
                  <c:v>8.27</c:v>
                </c:pt>
                <c:pt idx="8">
                  <c:v>10.92</c:v>
                </c:pt>
                <c:pt idx="9">
                  <c:v>18.79</c:v>
                </c:pt>
                <c:pt idx="10">
                  <c:v>15.11</c:v>
                </c:pt>
                <c:pt idx="11">
                  <c:v>16.61</c:v>
                </c:pt>
                <c:pt idx="12">
                  <c:v>39</c:v>
                </c:pt>
                <c:pt idx="13">
                  <c:v>38.69</c:v>
                </c:pt>
                <c:pt idx="14">
                  <c:v>34.56</c:v>
                </c:pt>
                <c:pt idx="15">
                  <c:v>22.36</c:v>
                </c:pt>
                <c:pt idx="16">
                  <c:v>35.590000000000003</c:v>
                </c:pt>
                <c:pt idx="17">
                  <c:v>22.95</c:v>
                </c:pt>
                <c:pt idx="18">
                  <c:v>45.5</c:v>
                </c:pt>
                <c:pt idx="19">
                  <c:v>101.71</c:v>
                </c:pt>
                <c:pt idx="20">
                  <c:v>96.37</c:v>
                </c:pt>
                <c:pt idx="21">
                  <c:v>144.0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D$2:$D$23</c:f>
              <c:numCache>
                <c:formatCode>General</c:formatCode>
                <c:ptCount val="22"/>
                <c:pt idx="0">
                  <c:v>1.28</c:v>
                </c:pt>
                <c:pt idx="1">
                  <c:v>1.78</c:v>
                </c:pt>
                <c:pt idx="2">
                  <c:v>3.46</c:v>
                </c:pt>
                <c:pt idx="3">
                  <c:v>3.85</c:v>
                </c:pt>
                <c:pt idx="4">
                  <c:v>3.95</c:v>
                </c:pt>
                <c:pt idx="5">
                  <c:v>4.05</c:v>
                </c:pt>
                <c:pt idx="6">
                  <c:v>4.84</c:v>
                </c:pt>
                <c:pt idx="7">
                  <c:v>8.89</c:v>
                </c:pt>
                <c:pt idx="8">
                  <c:v>9.8800000000000008</c:v>
                </c:pt>
                <c:pt idx="9">
                  <c:v>11.85</c:v>
                </c:pt>
                <c:pt idx="10">
                  <c:v>12.24</c:v>
                </c:pt>
                <c:pt idx="11">
                  <c:v>14.22</c:v>
                </c:pt>
                <c:pt idx="12">
                  <c:v>21.23</c:v>
                </c:pt>
                <c:pt idx="13">
                  <c:v>24.29</c:v>
                </c:pt>
                <c:pt idx="14">
                  <c:v>24.59</c:v>
                </c:pt>
                <c:pt idx="15">
                  <c:v>26.37</c:v>
                </c:pt>
                <c:pt idx="16">
                  <c:v>28.54</c:v>
                </c:pt>
                <c:pt idx="17">
                  <c:v>30.12</c:v>
                </c:pt>
                <c:pt idx="18">
                  <c:v>42.66</c:v>
                </c:pt>
                <c:pt idx="19">
                  <c:v>92.43</c:v>
                </c:pt>
                <c:pt idx="20">
                  <c:v>94.8</c:v>
                </c:pt>
                <c:pt idx="21">
                  <c:v>11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rPr lang="en-US"/>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rPr lang="en-US"/>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E$2:$E$23</c:f>
              <c:numCache>
                <c:formatCode>General</c:formatCode>
                <c:ptCount val="22"/>
                <c:pt idx="0">
                  <c:v>1.21</c:v>
                </c:pt>
                <c:pt idx="1">
                  <c:v>1.9649999999999999</c:v>
                </c:pt>
                <c:pt idx="2">
                  <c:v>3.96</c:v>
                </c:pt>
                <c:pt idx="3">
                  <c:v>3.9249999999999998</c:v>
                </c:pt>
                <c:pt idx="4">
                  <c:v>3.95</c:v>
                </c:pt>
                <c:pt idx="5">
                  <c:v>5.4749999999999996</c:v>
                </c:pt>
                <c:pt idx="6">
                  <c:v>6.21</c:v>
                </c:pt>
                <c:pt idx="7">
                  <c:v>8.58</c:v>
                </c:pt>
                <c:pt idx="8">
                  <c:v>10.4</c:v>
                </c:pt>
                <c:pt idx="9">
                  <c:v>15.32</c:v>
                </c:pt>
                <c:pt idx="10">
                  <c:v>13.675000000000001</c:v>
                </c:pt>
                <c:pt idx="11">
                  <c:v>15.414999999999999</c:v>
                </c:pt>
                <c:pt idx="12">
                  <c:v>30.115000000000002</c:v>
                </c:pt>
                <c:pt idx="13">
                  <c:v>31.49</c:v>
                </c:pt>
                <c:pt idx="14">
                  <c:v>29.575000000000003</c:v>
                </c:pt>
                <c:pt idx="15">
                  <c:v>24.365000000000002</c:v>
                </c:pt>
                <c:pt idx="16">
                  <c:v>32.064999999999998</c:v>
                </c:pt>
                <c:pt idx="17">
                  <c:v>26.535</c:v>
                </c:pt>
                <c:pt idx="18">
                  <c:v>44.08</c:v>
                </c:pt>
                <c:pt idx="19">
                  <c:v>97.07</c:v>
                </c:pt>
                <c:pt idx="20">
                  <c:v>95.585000000000008</c:v>
                </c:pt>
                <c:pt idx="21">
                  <c:v>131.2699999999999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scaling>
        <c:delete val="0"/>
        <c:axPos val="r"/>
        <c:numFmt formatCode="General"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B$2:$B$23</c:f>
              <c:numCache>
                <c:formatCode>General</c:formatCode>
                <c:ptCount val="22"/>
                <c:pt idx="0">
                  <c:v>13</c:v>
                </c:pt>
                <c:pt idx="1">
                  <c:v>1</c:v>
                </c:pt>
                <c:pt idx="2">
                  <c:v>5</c:v>
                </c:pt>
                <c:pt idx="3">
                  <c:v>14</c:v>
                </c:pt>
                <c:pt idx="4">
                  <c:v>123</c:v>
                </c:pt>
                <c:pt idx="5">
                  <c:v>0</c:v>
                </c:pt>
                <c:pt idx="6">
                  <c:v>0</c:v>
                </c:pt>
                <c:pt idx="7">
                  <c:v>0</c:v>
                </c:pt>
                <c:pt idx="8">
                  <c:v>13</c:v>
                </c:pt>
                <c:pt idx="9">
                  <c:v>0</c:v>
                </c:pt>
                <c:pt idx="10">
                  <c:v>0</c:v>
                </c:pt>
                <c:pt idx="11">
                  <c:v>0</c:v>
                </c:pt>
                <c:pt idx="12">
                  <c:v>0</c:v>
                </c:pt>
                <c:pt idx="13">
                  <c:v>0</c:v>
                </c:pt>
                <c:pt idx="14">
                  <c:v>0</c:v>
                </c:pt>
                <c:pt idx="15">
                  <c:v>1</c:v>
                </c:pt>
                <c:pt idx="16">
                  <c:v>0</c:v>
                </c:pt>
                <c:pt idx="17">
                  <c:v>8</c:v>
                </c:pt>
                <c:pt idx="18">
                  <c:v>0</c:v>
                </c:pt>
                <c:pt idx="19">
                  <c:v>0</c:v>
                </c:pt>
                <c:pt idx="20">
                  <c:v>6</c:v>
                </c:pt>
                <c:pt idx="21">
                  <c:v>0</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C$2:$C$23</c:f>
              <c:numCache>
                <c:formatCode>General</c:formatCode>
                <c:ptCount val="22"/>
                <c:pt idx="0">
                  <c:v>1.1399999999999999</c:v>
                </c:pt>
                <c:pt idx="1">
                  <c:v>2.15</c:v>
                </c:pt>
                <c:pt idx="2">
                  <c:v>4.46</c:v>
                </c:pt>
                <c:pt idx="3">
                  <c:v>4</c:v>
                </c:pt>
                <c:pt idx="4">
                  <c:v>3.95</c:v>
                </c:pt>
                <c:pt idx="5">
                  <c:v>6.9</c:v>
                </c:pt>
                <c:pt idx="6">
                  <c:v>7.58</c:v>
                </c:pt>
                <c:pt idx="7">
                  <c:v>8.27</c:v>
                </c:pt>
                <c:pt idx="8">
                  <c:v>10.92</c:v>
                </c:pt>
                <c:pt idx="9">
                  <c:v>18.79</c:v>
                </c:pt>
                <c:pt idx="10">
                  <c:v>15.11</c:v>
                </c:pt>
                <c:pt idx="11">
                  <c:v>16.61</c:v>
                </c:pt>
                <c:pt idx="12">
                  <c:v>39</c:v>
                </c:pt>
                <c:pt idx="13">
                  <c:v>38.69</c:v>
                </c:pt>
                <c:pt idx="14">
                  <c:v>34.56</c:v>
                </c:pt>
                <c:pt idx="15">
                  <c:v>22.36</c:v>
                </c:pt>
                <c:pt idx="16">
                  <c:v>35.590000000000003</c:v>
                </c:pt>
                <c:pt idx="17">
                  <c:v>22.95</c:v>
                </c:pt>
                <c:pt idx="18">
                  <c:v>45.5</c:v>
                </c:pt>
                <c:pt idx="19">
                  <c:v>101.71</c:v>
                </c:pt>
                <c:pt idx="20">
                  <c:v>96.37</c:v>
                </c:pt>
                <c:pt idx="21">
                  <c:v>144.0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D$2:$D$23</c:f>
              <c:numCache>
                <c:formatCode>General</c:formatCode>
                <c:ptCount val="22"/>
                <c:pt idx="0">
                  <c:v>1.28</c:v>
                </c:pt>
                <c:pt idx="1">
                  <c:v>1.78</c:v>
                </c:pt>
                <c:pt idx="2">
                  <c:v>3.46</c:v>
                </c:pt>
                <c:pt idx="3">
                  <c:v>3.85</c:v>
                </c:pt>
                <c:pt idx="4">
                  <c:v>3.95</c:v>
                </c:pt>
                <c:pt idx="5">
                  <c:v>4.05</c:v>
                </c:pt>
                <c:pt idx="6">
                  <c:v>4.84</c:v>
                </c:pt>
                <c:pt idx="7">
                  <c:v>8.89</c:v>
                </c:pt>
                <c:pt idx="8">
                  <c:v>9.8800000000000008</c:v>
                </c:pt>
                <c:pt idx="9">
                  <c:v>11.85</c:v>
                </c:pt>
                <c:pt idx="10">
                  <c:v>12.24</c:v>
                </c:pt>
                <c:pt idx="11">
                  <c:v>14.22</c:v>
                </c:pt>
                <c:pt idx="12">
                  <c:v>21.23</c:v>
                </c:pt>
                <c:pt idx="13">
                  <c:v>24.29</c:v>
                </c:pt>
                <c:pt idx="14">
                  <c:v>24.59</c:v>
                </c:pt>
                <c:pt idx="15">
                  <c:v>26.37</c:v>
                </c:pt>
                <c:pt idx="16">
                  <c:v>28.54</c:v>
                </c:pt>
                <c:pt idx="17">
                  <c:v>30.12</c:v>
                </c:pt>
                <c:pt idx="18">
                  <c:v>42.66</c:v>
                </c:pt>
                <c:pt idx="19">
                  <c:v>92.43</c:v>
                </c:pt>
                <c:pt idx="20">
                  <c:v>94.8</c:v>
                </c:pt>
                <c:pt idx="21">
                  <c:v>11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rPr lang="en-US"/>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rPr lang="en-US"/>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E$2:$E$23</c:f>
              <c:numCache>
                <c:formatCode>General</c:formatCode>
                <c:ptCount val="22"/>
                <c:pt idx="0">
                  <c:v>1.21</c:v>
                </c:pt>
                <c:pt idx="1">
                  <c:v>1.9649999999999999</c:v>
                </c:pt>
                <c:pt idx="2">
                  <c:v>3.96</c:v>
                </c:pt>
                <c:pt idx="3">
                  <c:v>3.9249999999999998</c:v>
                </c:pt>
                <c:pt idx="4">
                  <c:v>3.95</c:v>
                </c:pt>
                <c:pt idx="5">
                  <c:v>5.4749999999999996</c:v>
                </c:pt>
                <c:pt idx="6">
                  <c:v>6.21</c:v>
                </c:pt>
                <c:pt idx="7">
                  <c:v>8.58</c:v>
                </c:pt>
                <c:pt idx="8">
                  <c:v>10.4</c:v>
                </c:pt>
                <c:pt idx="9">
                  <c:v>15.32</c:v>
                </c:pt>
                <c:pt idx="10">
                  <c:v>13.675000000000001</c:v>
                </c:pt>
                <c:pt idx="11">
                  <c:v>15.414999999999999</c:v>
                </c:pt>
                <c:pt idx="12">
                  <c:v>30.115000000000002</c:v>
                </c:pt>
                <c:pt idx="13">
                  <c:v>31.49</c:v>
                </c:pt>
                <c:pt idx="14">
                  <c:v>29.575000000000003</c:v>
                </c:pt>
                <c:pt idx="15">
                  <c:v>24.365000000000002</c:v>
                </c:pt>
                <c:pt idx="16">
                  <c:v>32.064999999999998</c:v>
                </c:pt>
                <c:pt idx="17">
                  <c:v>26.535</c:v>
                </c:pt>
                <c:pt idx="18">
                  <c:v>44.08</c:v>
                </c:pt>
                <c:pt idx="19">
                  <c:v>97.07</c:v>
                </c:pt>
                <c:pt idx="20">
                  <c:v>95.585000000000008</c:v>
                </c:pt>
                <c:pt idx="21">
                  <c:v>131.2699999999999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scaling>
        <c:delete val="0"/>
        <c:axPos val="r"/>
        <c:numFmt formatCode="General"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B$2:$B$23</c:f>
              <c:numCache>
                <c:formatCode>General</c:formatCode>
                <c:ptCount val="22"/>
                <c:pt idx="0">
                  <c:v>13</c:v>
                </c:pt>
                <c:pt idx="1">
                  <c:v>1</c:v>
                </c:pt>
                <c:pt idx="2">
                  <c:v>5</c:v>
                </c:pt>
                <c:pt idx="3">
                  <c:v>14</c:v>
                </c:pt>
                <c:pt idx="4">
                  <c:v>123</c:v>
                </c:pt>
                <c:pt idx="5">
                  <c:v>0</c:v>
                </c:pt>
                <c:pt idx="6">
                  <c:v>0</c:v>
                </c:pt>
                <c:pt idx="7">
                  <c:v>0</c:v>
                </c:pt>
                <c:pt idx="8">
                  <c:v>13</c:v>
                </c:pt>
                <c:pt idx="9">
                  <c:v>0</c:v>
                </c:pt>
                <c:pt idx="10">
                  <c:v>0</c:v>
                </c:pt>
                <c:pt idx="11">
                  <c:v>0</c:v>
                </c:pt>
                <c:pt idx="12">
                  <c:v>0</c:v>
                </c:pt>
                <c:pt idx="13">
                  <c:v>0</c:v>
                </c:pt>
                <c:pt idx="14">
                  <c:v>0</c:v>
                </c:pt>
                <c:pt idx="15">
                  <c:v>1</c:v>
                </c:pt>
                <c:pt idx="16">
                  <c:v>0</c:v>
                </c:pt>
                <c:pt idx="17">
                  <c:v>8</c:v>
                </c:pt>
                <c:pt idx="18">
                  <c:v>0</c:v>
                </c:pt>
                <c:pt idx="19">
                  <c:v>0</c:v>
                </c:pt>
                <c:pt idx="20">
                  <c:v>6</c:v>
                </c:pt>
                <c:pt idx="21">
                  <c:v>0</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C$2:$C$23</c:f>
              <c:numCache>
                <c:formatCode>General</c:formatCode>
                <c:ptCount val="22"/>
                <c:pt idx="0">
                  <c:v>1.1399999999999999</c:v>
                </c:pt>
                <c:pt idx="1">
                  <c:v>2.15</c:v>
                </c:pt>
                <c:pt idx="2">
                  <c:v>4.46</c:v>
                </c:pt>
                <c:pt idx="3">
                  <c:v>4</c:v>
                </c:pt>
                <c:pt idx="4">
                  <c:v>3.95</c:v>
                </c:pt>
                <c:pt idx="5">
                  <c:v>6.9</c:v>
                </c:pt>
                <c:pt idx="6">
                  <c:v>7.58</c:v>
                </c:pt>
                <c:pt idx="7">
                  <c:v>8.27</c:v>
                </c:pt>
                <c:pt idx="8">
                  <c:v>10.92</c:v>
                </c:pt>
                <c:pt idx="9">
                  <c:v>18.79</c:v>
                </c:pt>
                <c:pt idx="10">
                  <c:v>15.11</c:v>
                </c:pt>
                <c:pt idx="11">
                  <c:v>16.61</c:v>
                </c:pt>
                <c:pt idx="12">
                  <c:v>39</c:v>
                </c:pt>
                <c:pt idx="13">
                  <c:v>38.69</c:v>
                </c:pt>
                <c:pt idx="14">
                  <c:v>34.56</c:v>
                </c:pt>
                <c:pt idx="15">
                  <c:v>22.36</c:v>
                </c:pt>
                <c:pt idx="16">
                  <c:v>35.590000000000003</c:v>
                </c:pt>
                <c:pt idx="17">
                  <c:v>22.95</c:v>
                </c:pt>
                <c:pt idx="18">
                  <c:v>45.5</c:v>
                </c:pt>
                <c:pt idx="19">
                  <c:v>101.71</c:v>
                </c:pt>
                <c:pt idx="20">
                  <c:v>96.37</c:v>
                </c:pt>
                <c:pt idx="21">
                  <c:v>144.0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D$2:$D$23</c:f>
              <c:numCache>
                <c:formatCode>General</c:formatCode>
                <c:ptCount val="22"/>
                <c:pt idx="0">
                  <c:v>1.28</c:v>
                </c:pt>
                <c:pt idx="1">
                  <c:v>1.78</c:v>
                </c:pt>
                <c:pt idx="2">
                  <c:v>3.46</c:v>
                </c:pt>
                <c:pt idx="3">
                  <c:v>3.85</c:v>
                </c:pt>
                <c:pt idx="4">
                  <c:v>3.95</c:v>
                </c:pt>
                <c:pt idx="5">
                  <c:v>4.05</c:v>
                </c:pt>
                <c:pt idx="6">
                  <c:v>4.84</c:v>
                </c:pt>
                <c:pt idx="7">
                  <c:v>8.89</c:v>
                </c:pt>
                <c:pt idx="8">
                  <c:v>9.8800000000000008</c:v>
                </c:pt>
                <c:pt idx="9">
                  <c:v>11.85</c:v>
                </c:pt>
                <c:pt idx="10">
                  <c:v>12.24</c:v>
                </c:pt>
                <c:pt idx="11">
                  <c:v>14.22</c:v>
                </c:pt>
                <c:pt idx="12">
                  <c:v>21.23</c:v>
                </c:pt>
                <c:pt idx="13">
                  <c:v>24.29</c:v>
                </c:pt>
                <c:pt idx="14">
                  <c:v>24.59</c:v>
                </c:pt>
                <c:pt idx="15">
                  <c:v>26.37</c:v>
                </c:pt>
                <c:pt idx="16">
                  <c:v>28.54</c:v>
                </c:pt>
                <c:pt idx="17">
                  <c:v>30.12</c:v>
                </c:pt>
                <c:pt idx="18">
                  <c:v>42.66</c:v>
                </c:pt>
                <c:pt idx="19">
                  <c:v>92.43</c:v>
                </c:pt>
                <c:pt idx="20">
                  <c:v>94.8</c:v>
                </c:pt>
                <c:pt idx="21">
                  <c:v>11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rPr lang="en-US"/>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rPr lang="en-US"/>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E$2:$E$23</c:f>
              <c:numCache>
                <c:formatCode>General</c:formatCode>
                <c:ptCount val="22"/>
                <c:pt idx="0">
                  <c:v>1.21</c:v>
                </c:pt>
                <c:pt idx="1">
                  <c:v>1.9649999999999999</c:v>
                </c:pt>
                <c:pt idx="2">
                  <c:v>3.96</c:v>
                </c:pt>
                <c:pt idx="3">
                  <c:v>3.9249999999999998</c:v>
                </c:pt>
                <c:pt idx="4">
                  <c:v>3.95</c:v>
                </c:pt>
                <c:pt idx="5">
                  <c:v>5.4749999999999996</c:v>
                </c:pt>
                <c:pt idx="6">
                  <c:v>6.21</c:v>
                </c:pt>
                <c:pt idx="7">
                  <c:v>8.58</c:v>
                </c:pt>
                <c:pt idx="8">
                  <c:v>10.4</c:v>
                </c:pt>
                <c:pt idx="9">
                  <c:v>15.32</c:v>
                </c:pt>
                <c:pt idx="10">
                  <c:v>13.675000000000001</c:v>
                </c:pt>
                <c:pt idx="11">
                  <c:v>15.414999999999999</c:v>
                </c:pt>
                <c:pt idx="12">
                  <c:v>30.115000000000002</c:v>
                </c:pt>
                <c:pt idx="13">
                  <c:v>31.49</c:v>
                </c:pt>
                <c:pt idx="14">
                  <c:v>29.575000000000003</c:v>
                </c:pt>
                <c:pt idx="15">
                  <c:v>24.365000000000002</c:v>
                </c:pt>
                <c:pt idx="16">
                  <c:v>32.064999999999998</c:v>
                </c:pt>
                <c:pt idx="17">
                  <c:v>26.535</c:v>
                </c:pt>
                <c:pt idx="18">
                  <c:v>44.08</c:v>
                </c:pt>
                <c:pt idx="19">
                  <c:v>97.07</c:v>
                </c:pt>
                <c:pt idx="20">
                  <c:v>95.585000000000008</c:v>
                </c:pt>
                <c:pt idx="21">
                  <c:v>131.2699999999999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scaling>
        <c:delete val="0"/>
        <c:axPos val="r"/>
        <c:numFmt formatCode="General"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B$2:$B$23</c:f>
              <c:numCache>
                <c:formatCode>General</c:formatCode>
                <c:ptCount val="22"/>
                <c:pt idx="0">
                  <c:v>13</c:v>
                </c:pt>
                <c:pt idx="1">
                  <c:v>1</c:v>
                </c:pt>
                <c:pt idx="2">
                  <c:v>5</c:v>
                </c:pt>
                <c:pt idx="3">
                  <c:v>14</c:v>
                </c:pt>
                <c:pt idx="4">
                  <c:v>123</c:v>
                </c:pt>
                <c:pt idx="5">
                  <c:v>0</c:v>
                </c:pt>
                <c:pt idx="6">
                  <c:v>0</c:v>
                </c:pt>
                <c:pt idx="7">
                  <c:v>0</c:v>
                </c:pt>
                <c:pt idx="8">
                  <c:v>13</c:v>
                </c:pt>
                <c:pt idx="9">
                  <c:v>0</c:v>
                </c:pt>
                <c:pt idx="10">
                  <c:v>0</c:v>
                </c:pt>
                <c:pt idx="11">
                  <c:v>0</c:v>
                </c:pt>
                <c:pt idx="12">
                  <c:v>0</c:v>
                </c:pt>
                <c:pt idx="13">
                  <c:v>0</c:v>
                </c:pt>
                <c:pt idx="14">
                  <c:v>0</c:v>
                </c:pt>
                <c:pt idx="15">
                  <c:v>1</c:v>
                </c:pt>
                <c:pt idx="16">
                  <c:v>0</c:v>
                </c:pt>
                <c:pt idx="17">
                  <c:v>8</c:v>
                </c:pt>
                <c:pt idx="18">
                  <c:v>0</c:v>
                </c:pt>
                <c:pt idx="19">
                  <c:v>0</c:v>
                </c:pt>
                <c:pt idx="20">
                  <c:v>6</c:v>
                </c:pt>
                <c:pt idx="21">
                  <c:v>0</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C$2:$C$23</c:f>
              <c:numCache>
                <c:formatCode>General</c:formatCode>
                <c:ptCount val="22"/>
                <c:pt idx="0">
                  <c:v>1.1399999999999999</c:v>
                </c:pt>
                <c:pt idx="1">
                  <c:v>2.15</c:v>
                </c:pt>
                <c:pt idx="2">
                  <c:v>4.46</c:v>
                </c:pt>
                <c:pt idx="3">
                  <c:v>4</c:v>
                </c:pt>
                <c:pt idx="4">
                  <c:v>3.95</c:v>
                </c:pt>
                <c:pt idx="5">
                  <c:v>6.9</c:v>
                </c:pt>
                <c:pt idx="6">
                  <c:v>7.58</c:v>
                </c:pt>
                <c:pt idx="7">
                  <c:v>8.27</c:v>
                </c:pt>
                <c:pt idx="8">
                  <c:v>10.92</c:v>
                </c:pt>
                <c:pt idx="9">
                  <c:v>18.79</c:v>
                </c:pt>
                <c:pt idx="10">
                  <c:v>15.11</c:v>
                </c:pt>
                <c:pt idx="11">
                  <c:v>16.61</c:v>
                </c:pt>
                <c:pt idx="12">
                  <c:v>39</c:v>
                </c:pt>
                <c:pt idx="13">
                  <c:v>38.69</c:v>
                </c:pt>
                <c:pt idx="14">
                  <c:v>34.56</c:v>
                </c:pt>
                <c:pt idx="15">
                  <c:v>22.36</c:v>
                </c:pt>
                <c:pt idx="16">
                  <c:v>35.590000000000003</c:v>
                </c:pt>
                <c:pt idx="17">
                  <c:v>22.95</c:v>
                </c:pt>
                <c:pt idx="18">
                  <c:v>45.5</c:v>
                </c:pt>
                <c:pt idx="19">
                  <c:v>101.71</c:v>
                </c:pt>
                <c:pt idx="20">
                  <c:v>96.37</c:v>
                </c:pt>
                <c:pt idx="21">
                  <c:v>144.0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D$2:$D$23</c:f>
              <c:numCache>
                <c:formatCode>General</c:formatCode>
                <c:ptCount val="22"/>
                <c:pt idx="0">
                  <c:v>1.28</c:v>
                </c:pt>
                <c:pt idx="1">
                  <c:v>1.78</c:v>
                </c:pt>
                <c:pt idx="2">
                  <c:v>3.46</c:v>
                </c:pt>
                <c:pt idx="3">
                  <c:v>3.85</c:v>
                </c:pt>
                <c:pt idx="4">
                  <c:v>3.95</c:v>
                </c:pt>
                <c:pt idx="5">
                  <c:v>4.05</c:v>
                </c:pt>
                <c:pt idx="6">
                  <c:v>4.84</c:v>
                </c:pt>
                <c:pt idx="7">
                  <c:v>8.89</c:v>
                </c:pt>
                <c:pt idx="8">
                  <c:v>9.8800000000000008</c:v>
                </c:pt>
                <c:pt idx="9">
                  <c:v>11.85</c:v>
                </c:pt>
                <c:pt idx="10">
                  <c:v>12.24</c:v>
                </c:pt>
                <c:pt idx="11">
                  <c:v>14.22</c:v>
                </c:pt>
                <c:pt idx="12">
                  <c:v>21.23</c:v>
                </c:pt>
                <c:pt idx="13">
                  <c:v>24.29</c:v>
                </c:pt>
                <c:pt idx="14">
                  <c:v>24.59</c:v>
                </c:pt>
                <c:pt idx="15">
                  <c:v>26.37</c:v>
                </c:pt>
                <c:pt idx="16">
                  <c:v>28.54</c:v>
                </c:pt>
                <c:pt idx="17">
                  <c:v>30.12</c:v>
                </c:pt>
                <c:pt idx="18">
                  <c:v>42.66</c:v>
                </c:pt>
                <c:pt idx="19">
                  <c:v>92.43</c:v>
                </c:pt>
                <c:pt idx="20">
                  <c:v>94.8</c:v>
                </c:pt>
                <c:pt idx="21">
                  <c:v>11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rPr lang="en-US"/>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rPr lang="en-US"/>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E$2:$E$23</c:f>
              <c:numCache>
                <c:formatCode>General</c:formatCode>
                <c:ptCount val="22"/>
                <c:pt idx="0">
                  <c:v>1.21</c:v>
                </c:pt>
                <c:pt idx="1">
                  <c:v>1.9649999999999999</c:v>
                </c:pt>
                <c:pt idx="2">
                  <c:v>3.96</c:v>
                </c:pt>
                <c:pt idx="3">
                  <c:v>3.9249999999999998</c:v>
                </c:pt>
                <c:pt idx="4">
                  <c:v>3.95</c:v>
                </c:pt>
                <c:pt idx="5">
                  <c:v>5.4749999999999996</c:v>
                </c:pt>
                <c:pt idx="6">
                  <c:v>6.21</c:v>
                </c:pt>
                <c:pt idx="7">
                  <c:v>8.58</c:v>
                </c:pt>
                <c:pt idx="8">
                  <c:v>10.4</c:v>
                </c:pt>
                <c:pt idx="9">
                  <c:v>15.32</c:v>
                </c:pt>
                <c:pt idx="10">
                  <c:v>13.675000000000001</c:v>
                </c:pt>
                <c:pt idx="11">
                  <c:v>15.414999999999999</c:v>
                </c:pt>
                <c:pt idx="12">
                  <c:v>30.115000000000002</c:v>
                </c:pt>
                <c:pt idx="13">
                  <c:v>31.49</c:v>
                </c:pt>
                <c:pt idx="14">
                  <c:v>29.575000000000003</c:v>
                </c:pt>
                <c:pt idx="15">
                  <c:v>24.365000000000002</c:v>
                </c:pt>
                <c:pt idx="16">
                  <c:v>32.064999999999998</c:v>
                </c:pt>
                <c:pt idx="17">
                  <c:v>26.535</c:v>
                </c:pt>
                <c:pt idx="18">
                  <c:v>44.08</c:v>
                </c:pt>
                <c:pt idx="19">
                  <c:v>97.07</c:v>
                </c:pt>
                <c:pt idx="20">
                  <c:v>95.585000000000008</c:v>
                </c:pt>
                <c:pt idx="21">
                  <c:v>131.2699999999999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scaling>
        <c:delete val="0"/>
        <c:axPos val="r"/>
        <c:numFmt formatCode="General"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B$2:$B$23</c:f>
              <c:numCache>
                <c:formatCode>General</c:formatCode>
                <c:ptCount val="22"/>
                <c:pt idx="0">
                  <c:v>13</c:v>
                </c:pt>
                <c:pt idx="1">
                  <c:v>1</c:v>
                </c:pt>
                <c:pt idx="2">
                  <c:v>5</c:v>
                </c:pt>
                <c:pt idx="3">
                  <c:v>14</c:v>
                </c:pt>
                <c:pt idx="4">
                  <c:v>123</c:v>
                </c:pt>
                <c:pt idx="5">
                  <c:v>0</c:v>
                </c:pt>
                <c:pt idx="6">
                  <c:v>0</c:v>
                </c:pt>
                <c:pt idx="7">
                  <c:v>0</c:v>
                </c:pt>
                <c:pt idx="8">
                  <c:v>13</c:v>
                </c:pt>
                <c:pt idx="9">
                  <c:v>0</c:v>
                </c:pt>
                <c:pt idx="10">
                  <c:v>0</c:v>
                </c:pt>
                <c:pt idx="11">
                  <c:v>0</c:v>
                </c:pt>
                <c:pt idx="12">
                  <c:v>0</c:v>
                </c:pt>
                <c:pt idx="13">
                  <c:v>0</c:v>
                </c:pt>
                <c:pt idx="14">
                  <c:v>0</c:v>
                </c:pt>
                <c:pt idx="15">
                  <c:v>1</c:v>
                </c:pt>
                <c:pt idx="16">
                  <c:v>0</c:v>
                </c:pt>
                <c:pt idx="17">
                  <c:v>8</c:v>
                </c:pt>
                <c:pt idx="18">
                  <c:v>0</c:v>
                </c:pt>
                <c:pt idx="19">
                  <c:v>0</c:v>
                </c:pt>
                <c:pt idx="20">
                  <c:v>6</c:v>
                </c:pt>
                <c:pt idx="21">
                  <c:v>0</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C$2:$C$23</c:f>
              <c:numCache>
                <c:formatCode>General</c:formatCode>
                <c:ptCount val="22"/>
                <c:pt idx="0">
                  <c:v>1.1399999999999999</c:v>
                </c:pt>
                <c:pt idx="1">
                  <c:v>2.15</c:v>
                </c:pt>
                <c:pt idx="2">
                  <c:v>4.46</c:v>
                </c:pt>
                <c:pt idx="3">
                  <c:v>4</c:v>
                </c:pt>
                <c:pt idx="4">
                  <c:v>3.95</c:v>
                </c:pt>
                <c:pt idx="5">
                  <c:v>6.9</c:v>
                </c:pt>
                <c:pt idx="6">
                  <c:v>7.58</c:v>
                </c:pt>
                <c:pt idx="7">
                  <c:v>8.27</c:v>
                </c:pt>
                <c:pt idx="8">
                  <c:v>10.92</c:v>
                </c:pt>
                <c:pt idx="9">
                  <c:v>18.79</c:v>
                </c:pt>
                <c:pt idx="10">
                  <c:v>15.11</c:v>
                </c:pt>
                <c:pt idx="11">
                  <c:v>16.61</c:v>
                </c:pt>
                <c:pt idx="12">
                  <c:v>39</c:v>
                </c:pt>
                <c:pt idx="13">
                  <c:v>38.69</c:v>
                </c:pt>
                <c:pt idx="14">
                  <c:v>34.56</c:v>
                </c:pt>
                <c:pt idx="15">
                  <c:v>22.36</c:v>
                </c:pt>
                <c:pt idx="16">
                  <c:v>35.590000000000003</c:v>
                </c:pt>
                <c:pt idx="17">
                  <c:v>22.95</c:v>
                </c:pt>
                <c:pt idx="18">
                  <c:v>45.5</c:v>
                </c:pt>
                <c:pt idx="19">
                  <c:v>101.71</c:v>
                </c:pt>
                <c:pt idx="20">
                  <c:v>96.37</c:v>
                </c:pt>
                <c:pt idx="21">
                  <c:v>144.0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D$2:$D$23</c:f>
              <c:numCache>
                <c:formatCode>General</c:formatCode>
                <c:ptCount val="22"/>
                <c:pt idx="0">
                  <c:v>1.28</c:v>
                </c:pt>
                <c:pt idx="1">
                  <c:v>1.78</c:v>
                </c:pt>
                <c:pt idx="2">
                  <c:v>3.46</c:v>
                </c:pt>
                <c:pt idx="3">
                  <c:v>3.85</c:v>
                </c:pt>
                <c:pt idx="4">
                  <c:v>3.95</c:v>
                </c:pt>
                <c:pt idx="5">
                  <c:v>4.05</c:v>
                </c:pt>
                <c:pt idx="6">
                  <c:v>4.84</c:v>
                </c:pt>
                <c:pt idx="7">
                  <c:v>8.89</c:v>
                </c:pt>
                <c:pt idx="8">
                  <c:v>9.8800000000000008</c:v>
                </c:pt>
                <c:pt idx="9">
                  <c:v>11.85</c:v>
                </c:pt>
                <c:pt idx="10">
                  <c:v>12.24</c:v>
                </c:pt>
                <c:pt idx="11">
                  <c:v>14.22</c:v>
                </c:pt>
                <c:pt idx="12">
                  <c:v>21.23</c:v>
                </c:pt>
                <c:pt idx="13">
                  <c:v>24.29</c:v>
                </c:pt>
                <c:pt idx="14">
                  <c:v>24.59</c:v>
                </c:pt>
                <c:pt idx="15">
                  <c:v>26.37</c:v>
                </c:pt>
                <c:pt idx="16">
                  <c:v>28.54</c:v>
                </c:pt>
                <c:pt idx="17">
                  <c:v>30.12</c:v>
                </c:pt>
                <c:pt idx="18">
                  <c:v>42.66</c:v>
                </c:pt>
                <c:pt idx="19">
                  <c:v>92.43</c:v>
                </c:pt>
                <c:pt idx="20">
                  <c:v>94.8</c:v>
                </c:pt>
                <c:pt idx="21">
                  <c:v>11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rPr lang="en-US"/>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rPr lang="en-US"/>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E$2:$E$23</c:f>
              <c:numCache>
                <c:formatCode>General</c:formatCode>
                <c:ptCount val="22"/>
                <c:pt idx="0">
                  <c:v>1.21</c:v>
                </c:pt>
                <c:pt idx="1">
                  <c:v>1.9649999999999999</c:v>
                </c:pt>
                <c:pt idx="2">
                  <c:v>3.96</c:v>
                </c:pt>
                <c:pt idx="3">
                  <c:v>3.9249999999999998</c:v>
                </c:pt>
                <c:pt idx="4">
                  <c:v>3.95</c:v>
                </c:pt>
                <c:pt idx="5">
                  <c:v>5.4749999999999996</c:v>
                </c:pt>
                <c:pt idx="6">
                  <c:v>6.21</c:v>
                </c:pt>
                <c:pt idx="7">
                  <c:v>8.58</c:v>
                </c:pt>
                <c:pt idx="8">
                  <c:v>10.4</c:v>
                </c:pt>
                <c:pt idx="9">
                  <c:v>15.32</c:v>
                </c:pt>
                <c:pt idx="10">
                  <c:v>13.675000000000001</c:v>
                </c:pt>
                <c:pt idx="11">
                  <c:v>15.414999999999999</c:v>
                </c:pt>
                <c:pt idx="12">
                  <c:v>30.115000000000002</c:v>
                </c:pt>
                <c:pt idx="13">
                  <c:v>31.49</c:v>
                </c:pt>
                <c:pt idx="14">
                  <c:v>29.575000000000003</c:v>
                </c:pt>
                <c:pt idx="15">
                  <c:v>24.365000000000002</c:v>
                </c:pt>
                <c:pt idx="16">
                  <c:v>32.064999999999998</c:v>
                </c:pt>
                <c:pt idx="17">
                  <c:v>26.535</c:v>
                </c:pt>
                <c:pt idx="18">
                  <c:v>44.08</c:v>
                </c:pt>
                <c:pt idx="19">
                  <c:v>97.07</c:v>
                </c:pt>
                <c:pt idx="20">
                  <c:v>95.585000000000008</c:v>
                </c:pt>
                <c:pt idx="21">
                  <c:v>131.2699999999999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scaling>
        <c:delete val="0"/>
        <c:axPos val="r"/>
        <c:numFmt formatCode="General"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B$2:$B$23</c:f>
              <c:numCache>
                <c:formatCode>General</c:formatCode>
                <c:ptCount val="22"/>
                <c:pt idx="0">
                  <c:v>13</c:v>
                </c:pt>
                <c:pt idx="1">
                  <c:v>1</c:v>
                </c:pt>
                <c:pt idx="2">
                  <c:v>5</c:v>
                </c:pt>
                <c:pt idx="3">
                  <c:v>14</c:v>
                </c:pt>
                <c:pt idx="4">
                  <c:v>123</c:v>
                </c:pt>
                <c:pt idx="5">
                  <c:v>0</c:v>
                </c:pt>
                <c:pt idx="6">
                  <c:v>0</c:v>
                </c:pt>
                <c:pt idx="7">
                  <c:v>0</c:v>
                </c:pt>
                <c:pt idx="8">
                  <c:v>13</c:v>
                </c:pt>
                <c:pt idx="9">
                  <c:v>0</c:v>
                </c:pt>
                <c:pt idx="10">
                  <c:v>0</c:v>
                </c:pt>
                <c:pt idx="11">
                  <c:v>0</c:v>
                </c:pt>
                <c:pt idx="12">
                  <c:v>0</c:v>
                </c:pt>
                <c:pt idx="13">
                  <c:v>0</c:v>
                </c:pt>
                <c:pt idx="14">
                  <c:v>0</c:v>
                </c:pt>
                <c:pt idx="15">
                  <c:v>1</c:v>
                </c:pt>
                <c:pt idx="16">
                  <c:v>0</c:v>
                </c:pt>
                <c:pt idx="17">
                  <c:v>8</c:v>
                </c:pt>
                <c:pt idx="18">
                  <c:v>0</c:v>
                </c:pt>
                <c:pt idx="19">
                  <c:v>0</c:v>
                </c:pt>
                <c:pt idx="20">
                  <c:v>6</c:v>
                </c:pt>
                <c:pt idx="21">
                  <c:v>0</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C$2:$C$23</c:f>
              <c:numCache>
                <c:formatCode>General</c:formatCode>
                <c:ptCount val="22"/>
                <c:pt idx="0">
                  <c:v>1.1399999999999999</c:v>
                </c:pt>
                <c:pt idx="1">
                  <c:v>2.15</c:v>
                </c:pt>
                <c:pt idx="2">
                  <c:v>4.46</c:v>
                </c:pt>
                <c:pt idx="3">
                  <c:v>4</c:v>
                </c:pt>
                <c:pt idx="4">
                  <c:v>3.95</c:v>
                </c:pt>
                <c:pt idx="5">
                  <c:v>6.9</c:v>
                </c:pt>
                <c:pt idx="6">
                  <c:v>7.58</c:v>
                </c:pt>
                <c:pt idx="7">
                  <c:v>8.27</c:v>
                </c:pt>
                <c:pt idx="8">
                  <c:v>10.92</c:v>
                </c:pt>
                <c:pt idx="9">
                  <c:v>18.79</c:v>
                </c:pt>
                <c:pt idx="10">
                  <c:v>15.11</c:v>
                </c:pt>
                <c:pt idx="11">
                  <c:v>16.61</c:v>
                </c:pt>
                <c:pt idx="12">
                  <c:v>39</c:v>
                </c:pt>
                <c:pt idx="13">
                  <c:v>38.69</c:v>
                </c:pt>
                <c:pt idx="14">
                  <c:v>34.56</c:v>
                </c:pt>
                <c:pt idx="15">
                  <c:v>22.36</c:v>
                </c:pt>
                <c:pt idx="16">
                  <c:v>35.590000000000003</c:v>
                </c:pt>
                <c:pt idx="17">
                  <c:v>22.95</c:v>
                </c:pt>
                <c:pt idx="18">
                  <c:v>45.5</c:v>
                </c:pt>
                <c:pt idx="19">
                  <c:v>101.71</c:v>
                </c:pt>
                <c:pt idx="20">
                  <c:v>96.37</c:v>
                </c:pt>
                <c:pt idx="21">
                  <c:v>144.0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D$2:$D$23</c:f>
              <c:numCache>
                <c:formatCode>General</c:formatCode>
                <c:ptCount val="22"/>
                <c:pt idx="0">
                  <c:v>1.28</c:v>
                </c:pt>
                <c:pt idx="1">
                  <c:v>1.78</c:v>
                </c:pt>
                <c:pt idx="2">
                  <c:v>3.46</c:v>
                </c:pt>
                <c:pt idx="3">
                  <c:v>3.85</c:v>
                </c:pt>
                <c:pt idx="4">
                  <c:v>3.95</c:v>
                </c:pt>
                <c:pt idx="5">
                  <c:v>4.05</c:v>
                </c:pt>
                <c:pt idx="6">
                  <c:v>4.84</c:v>
                </c:pt>
                <c:pt idx="7">
                  <c:v>8.89</c:v>
                </c:pt>
                <c:pt idx="8">
                  <c:v>9.8800000000000008</c:v>
                </c:pt>
                <c:pt idx="9">
                  <c:v>11.85</c:v>
                </c:pt>
                <c:pt idx="10">
                  <c:v>12.24</c:v>
                </c:pt>
                <c:pt idx="11">
                  <c:v>14.22</c:v>
                </c:pt>
                <c:pt idx="12">
                  <c:v>21.23</c:v>
                </c:pt>
                <c:pt idx="13">
                  <c:v>24.29</c:v>
                </c:pt>
                <c:pt idx="14">
                  <c:v>24.59</c:v>
                </c:pt>
                <c:pt idx="15">
                  <c:v>26.37</c:v>
                </c:pt>
                <c:pt idx="16">
                  <c:v>28.54</c:v>
                </c:pt>
                <c:pt idx="17">
                  <c:v>30.12</c:v>
                </c:pt>
                <c:pt idx="18">
                  <c:v>42.66</c:v>
                </c:pt>
                <c:pt idx="19">
                  <c:v>92.43</c:v>
                </c:pt>
                <c:pt idx="20">
                  <c:v>94.8</c:v>
                </c:pt>
                <c:pt idx="21">
                  <c:v>11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rPr lang="en-US"/>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rPr lang="en-US"/>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E$2:$E$23</c:f>
              <c:numCache>
                <c:formatCode>General</c:formatCode>
                <c:ptCount val="22"/>
                <c:pt idx="0">
                  <c:v>1.21</c:v>
                </c:pt>
                <c:pt idx="1">
                  <c:v>1.9649999999999999</c:v>
                </c:pt>
                <c:pt idx="2">
                  <c:v>3.96</c:v>
                </c:pt>
                <c:pt idx="3">
                  <c:v>3.9249999999999998</c:v>
                </c:pt>
                <c:pt idx="4">
                  <c:v>3.95</c:v>
                </c:pt>
                <c:pt idx="5">
                  <c:v>5.4749999999999996</c:v>
                </c:pt>
                <c:pt idx="6">
                  <c:v>6.21</c:v>
                </c:pt>
                <c:pt idx="7">
                  <c:v>8.58</c:v>
                </c:pt>
                <c:pt idx="8">
                  <c:v>10.4</c:v>
                </c:pt>
                <c:pt idx="9">
                  <c:v>15.32</c:v>
                </c:pt>
                <c:pt idx="10">
                  <c:v>13.675000000000001</c:v>
                </c:pt>
                <c:pt idx="11">
                  <c:v>15.414999999999999</c:v>
                </c:pt>
                <c:pt idx="12">
                  <c:v>30.115000000000002</c:v>
                </c:pt>
                <c:pt idx="13">
                  <c:v>31.49</c:v>
                </c:pt>
                <c:pt idx="14">
                  <c:v>29.575000000000003</c:v>
                </c:pt>
                <c:pt idx="15">
                  <c:v>24.365000000000002</c:v>
                </c:pt>
                <c:pt idx="16">
                  <c:v>32.064999999999998</c:v>
                </c:pt>
                <c:pt idx="17">
                  <c:v>26.535</c:v>
                </c:pt>
                <c:pt idx="18">
                  <c:v>44.08</c:v>
                </c:pt>
                <c:pt idx="19">
                  <c:v>97.07</c:v>
                </c:pt>
                <c:pt idx="20">
                  <c:v>95.585000000000008</c:v>
                </c:pt>
                <c:pt idx="21">
                  <c:v>131.2699999999999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scaling>
        <c:delete val="0"/>
        <c:axPos val="r"/>
        <c:numFmt formatCode="General"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B$2:$B$23</c:f>
              <c:numCache>
                <c:formatCode>General</c:formatCode>
                <c:ptCount val="22"/>
                <c:pt idx="0">
                  <c:v>13</c:v>
                </c:pt>
                <c:pt idx="1">
                  <c:v>1</c:v>
                </c:pt>
                <c:pt idx="2">
                  <c:v>5</c:v>
                </c:pt>
                <c:pt idx="3">
                  <c:v>14</c:v>
                </c:pt>
                <c:pt idx="4">
                  <c:v>123</c:v>
                </c:pt>
                <c:pt idx="5">
                  <c:v>0</c:v>
                </c:pt>
                <c:pt idx="6">
                  <c:v>0</c:v>
                </c:pt>
                <c:pt idx="7">
                  <c:v>0</c:v>
                </c:pt>
                <c:pt idx="8">
                  <c:v>13</c:v>
                </c:pt>
                <c:pt idx="9">
                  <c:v>0</c:v>
                </c:pt>
                <c:pt idx="10">
                  <c:v>0</c:v>
                </c:pt>
                <c:pt idx="11">
                  <c:v>0</c:v>
                </c:pt>
                <c:pt idx="12">
                  <c:v>0</c:v>
                </c:pt>
                <c:pt idx="13">
                  <c:v>0</c:v>
                </c:pt>
                <c:pt idx="14">
                  <c:v>0</c:v>
                </c:pt>
                <c:pt idx="15">
                  <c:v>1</c:v>
                </c:pt>
                <c:pt idx="16">
                  <c:v>0</c:v>
                </c:pt>
                <c:pt idx="17">
                  <c:v>8</c:v>
                </c:pt>
                <c:pt idx="18">
                  <c:v>0</c:v>
                </c:pt>
                <c:pt idx="19">
                  <c:v>0</c:v>
                </c:pt>
                <c:pt idx="20">
                  <c:v>6</c:v>
                </c:pt>
                <c:pt idx="21">
                  <c:v>0</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C$2:$C$23</c:f>
              <c:numCache>
                <c:formatCode>General</c:formatCode>
                <c:ptCount val="22"/>
                <c:pt idx="0">
                  <c:v>1.1399999999999999</c:v>
                </c:pt>
                <c:pt idx="1">
                  <c:v>2.15</c:v>
                </c:pt>
                <c:pt idx="2">
                  <c:v>4.46</c:v>
                </c:pt>
                <c:pt idx="3">
                  <c:v>4</c:v>
                </c:pt>
                <c:pt idx="4">
                  <c:v>3.95</c:v>
                </c:pt>
                <c:pt idx="5">
                  <c:v>6.9</c:v>
                </c:pt>
                <c:pt idx="6">
                  <c:v>7.58</c:v>
                </c:pt>
                <c:pt idx="7">
                  <c:v>8.27</c:v>
                </c:pt>
                <c:pt idx="8">
                  <c:v>10.92</c:v>
                </c:pt>
                <c:pt idx="9">
                  <c:v>18.79</c:v>
                </c:pt>
                <c:pt idx="10">
                  <c:v>15.11</c:v>
                </c:pt>
                <c:pt idx="11">
                  <c:v>16.61</c:v>
                </c:pt>
                <c:pt idx="12">
                  <c:v>39</c:v>
                </c:pt>
                <c:pt idx="13">
                  <c:v>38.69</c:v>
                </c:pt>
                <c:pt idx="14">
                  <c:v>34.56</c:v>
                </c:pt>
                <c:pt idx="15">
                  <c:v>22.36</c:v>
                </c:pt>
                <c:pt idx="16">
                  <c:v>35.590000000000003</c:v>
                </c:pt>
                <c:pt idx="17">
                  <c:v>22.95</c:v>
                </c:pt>
                <c:pt idx="18">
                  <c:v>45.5</c:v>
                </c:pt>
                <c:pt idx="19">
                  <c:v>101.71</c:v>
                </c:pt>
                <c:pt idx="20">
                  <c:v>96.37</c:v>
                </c:pt>
                <c:pt idx="21">
                  <c:v>144.0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D$2:$D$23</c:f>
              <c:numCache>
                <c:formatCode>General</c:formatCode>
                <c:ptCount val="22"/>
                <c:pt idx="0">
                  <c:v>1.28</c:v>
                </c:pt>
                <c:pt idx="1">
                  <c:v>1.78</c:v>
                </c:pt>
                <c:pt idx="2">
                  <c:v>3.46</c:v>
                </c:pt>
                <c:pt idx="3">
                  <c:v>3.85</c:v>
                </c:pt>
                <c:pt idx="4">
                  <c:v>3.95</c:v>
                </c:pt>
                <c:pt idx="5">
                  <c:v>4.05</c:v>
                </c:pt>
                <c:pt idx="6">
                  <c:v>4.84</c:v>
                </c:pt>
                <c:pt idx="7">
                  <c:v>8.89</c:v>
                </c:pt>
                <c:pt idx="8">
                  <c:v>9.8800000000000008</c:v>
                </c:pt>
                <c:pt idx="9">
                  <c:v>11.85</c:v>
                </c:pt>
                <c:pt idx="10">
                  <c:v>12.24</c:v>
                </c:pt>
                <c:pt idx="11">
                  <c:v>14.22</c:v>
                </c:pt>
                <c:pt idx="12">
                  <c:v>21.23</c:v>
                </c:pt>
                <c:pt idx="13">
                  <c:v>24.29</c:v>
                </c:pt>
                <c:pt idx="14">
                  <c:v>24.59</c:v>
                </c:pt>
                <c:pt idx="15">
                  <c:v>26.37</c:v>
                </c:pt>
                <c:pt idx="16">
                  <c:v>28.54</c:v>
                </c:pt>
                <c:pt idx="17">
                  <c:v>30.12</c:v>
                </c:pt>
                <c:pt idx="18">
                  <c:v>42.66</c:v>
                </c:pt>
                <c:pt idx="19">
                  <c:v>92.43</c:v>
                </c:pt>
                <c:pt idx="20">
                  <c:v>94.8</c:v>
                </c:pt>
                <c:pt idx="21">
                  <c:v>11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rPr lang="en-US"/>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rPr lang="en-US"/>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E$2:$E$23</c:f>
              <c:numCache>
                <c:formatCode>General</c:formatCode>
                <c:ptCount val="22"/>
                <c:pt idx="0">
                  <c:v>1.21</c:v>
                </c:pt>
                <c:pt idx="1">
                  <c:v>1.9649999999999999</c:v>
                </c:pt>
                <c:pt idx="2">
                  <c:v>3.96</c:v>
                </c:pt>
                <c:pt idx="3">
                  <c:v>3.9249999999999998</c:v>
                </c:pt>
                <c:pt idx="4">
                  <c:v>3.95</c:v>
                </c:pt>
                <c:pt idx="5">
                  <c:v>5.4749999999999996</c:v>
                </c:pt>
                <c:pt idx="6">
                  <c:v>6.21</c:v>
                </c:pt>
                <c:pt idx="7">
                  <c:v>8.58</c:v>
                </c:pt>
                <c:pt idx="8">
                  <c:v>10.4</c:v>
                </c:pt>
                <c:pt idx="9">
                  <c:v>15.32</c:v>
                </c:pt>
                <c:pt idx="10">
                  <c:v>13.675000000000001</c:v>
                </c:pt>
                <c:pt idx="11">
                  <c:v>15.414999999999999</c:v>
                </c:pt>
                <c:pt idx="12">
                  <c:v>30.115000000000002</c:v>
                </c:pt>
                <c:pt idx="13">
                  <c:v>31.49</c:v>
                </c:pt>
                <c:pt idx="14">
                  <c:v>29.575000000000003</c:v>
                </c:pt>
                <c:pt idx="15">
                  <c:v>24.365000000000002</c:v>
                </c:pt>
                <c:pt idx="16">
                  <c:v>32.064999999999998</c:v>
                </c:pt>
                <c:pt idx="17">
                  <c:v>26.535</c:v>
                </c:pt>
                <c:pt idx="18">
                  <c:v>44.08</c:v>
                </c:pt>
                <c:pt idx="19">
                  <c:v>97.07</c:v>
                </c:pt>
                <c:pt idx="20">
                  <c:v>95.585000000000008</c:v>
                </c:pt>
                <c:pt idx="21">
                  <c:v>131.2699999999999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scaling>
        <c:delete val="0"/>
        <c:axPos val="r"/>
        <c:numFmt formatCode="General"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B$2:$B$23</c:f>
              <c:numCache>
                <c:formatCode>General</c:formatCode>
                <c:ptCount val="22"/>
                <c:pt idx="0">
                  <c:v>13</c:v>
                </c:pt>
                <c:pt idx="1">
                  <c:v>1</c:v>
                </c:pt>
                <c:pt idx="2">
                  <c:v>5</c:v>
                </c:pt>
                <c:pt idx="3">
                  <c:v>14</c:v>
                </c:pt>
                <c:pt idx="4">
                  <c:v>123</c:v>
                </c:pt>
                <c:pt idx="5">
                  <c:v>0</c:v>
                </c:pt>
                <c:pt idx="6">
                  <c:v>0</c:v>
                </c:pt>
                <c:pt idx="7">
                  <c:v>0</c:v>
                </c:pt>
                <c:pt idx="8">
                  <c:v>13</c:v>
                </c:pt>
                <c:pt idx="9">
                  <c:v>0</c:v>
                </c:pt>
                <c:pt idx="10">
                  <c:v>0</c:v>
                </c:pt>
                <c:pt idx="11">
                  <c:v>0</c:v>
                </c:pt>
                <c:pt idx="12">
                  <c:v>0</c:v>
                </c:pt>
                <c:pt idx="13">
                  <c:v>0</c:v>
                </c:pt>
                <c:pt idx="14">
                  <c:v>0</c:v>
                </c:pt>
                <c:pt idx="15">
                  <c:v>1</c:v>
                </c:pt>
                <c:pt idx="16">
                  <c:v>0</c:v>
                </c:pt>
                <c:pt idx="17">
                  <c:v>8</c:v>
                </c:pt>
                <c:pt idx="18">
                  <c:v>0</c:v>
                </c:pt>
                <c:pt idx="19">
                  <c:v>0</c:v>
                </c:pt>
                <c:pt idx="20">
                  <c:v>6</c:v>
                </c:pt>
                <c:pt idx="21">
                  <c:v>0</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C$2:$C$23</c:f>
              <c:numCache>
                <c:formatCode>General</c:formatCode>
                <c:ptCount val="22"/>
                <c:pt idx="0">
                  <c:v>1.1399999999999999</c:v>
                </c:pt>
                <c:pt idx="1">
                  <c:v>2.15</c:v>
                </c:pt>
                <c:pt idx="2">
                  <c:v>4.46</c:v>
                </c:pt>
                <c:pt idx="3">
                  <c:v>4</c:v>
                </c:pt>
                <c:pt idx="4">
                  <c:v>3.95</c:v>
                </c:pt>
                <c:pt idx="5">
                  <c:v>6.9</c:v>
                </c:pt>
                <c:pt idx="6">
                  <c:v>7.58</c:v>
                </c:pt>
                <c:pt idx="7">
                  <c:v>8.27</c:v>
                </c:pt>
                <c:pt idx="8">
                  <c:v>10.92</c:v>
                </c:pt>
                <c:pt idx="9">
                  <c:v>18.79</c:v>
                </c:pt>
                <c:pt idx="10">
                  <c:v>15.11</c:v>
                </c:pt>
                <c:pt idx="11">
                  <c:v>16.61</c:v>
                </c:pt>
                <c:pt idx="12">
                  <c:v>39</c:v>
                </c:pt>
                <c:pt idx="13">
                  <c:v>38.69</c:v>
                </c:pt>
                <c:pt idx="14">
                  <c:v>34.56</c:v>
                </c:pt>
                <c:pt idx="15">
                  <c:v>22.36</c:v>
                </c:pt>
                <c:pt idx="16">
                  <c:v>35.590000000000003</c:v>
                </c:pt>
                <c:pt idx="17">
                  <c:v>22.95</c:v>
                </c:pt>
                <c:pt idx="18">
                  <c:v>45.5</c:v>
                </c:pt>
                <c:pt idx="19">
                  <c:v>101.71</c:v>
                </c:pt>
                <c:pt idx="20">
                  <c:v>96.37</c:v>
                </c:pt>
                <c:pt idx="21">
                  <c:v>144.0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D$2:$D$23</c:f>
              <c:numCache>
                <c:formatCode>General</c:formatCode>
                <c:ptCount val="22"/>
                <c:pt idx="0">
                  <c:v>1.28</c:v>
                </c:pt>
                <c:pt idx="1">
                  <c:v>1.78</c:v>
                </c:pt>
                <c:pt idx="2">
                  <c:v>3.46</c:v>
                </c:pt>
                <c:pt idx="3">
                  <c:v>3.85</c:v>
                </c:pt>
                <c:pt idx="4">
                  <c:v>3.95</c:v>
                </c:pt>
                <c:pt idx="5">
                  <c:v>4.05</c:v>
                </c:pt>
                <c:pt idx="6">
                  <c:v>4.84</c:v>
                </c:pt>
                <c:pt idx="7">
                  <c:v>8.89</c:v>
                </c:pt>
                <c:pt idx="8">
                  <c:v>9.8800000000000008</c:v>
                </c:pt>
                <c:pt idx="9">
                  <c:v>11.85</c:v>
                </c:pt>
                <c:pt idx="10">
                  <c:v>12.24</c:v>
                </c:pt>
                <c:pt idx="11">
                  <c:v>14.22</c:v>
                </c:pt>
                <c:pt idx="12">
                  <c:v>21.23</c:v>
                </c:pt>
                <c:pt idx="13">
                  <c:v>24.29</c:v>
                </c:pt>
                <c:pt idx="14">
                  <c:v>24.59</c:v>
                </c:pt>
                <c:pt idx="15">
                  <c:v>26.37</c:v>
                </c:pt>
                <c:pt idx="16">
                  <c:v>28.54</c:v>
                </c:pt>
                <c:pt idx="17">
                  <c:v>30.12</c:v>
                </c:pt>
                <c:pt idx="18">
                  <c:v>42.66</c:v>
                </c:pt>
                <c:pt idx="19">
                  <c:v>92.43</c:v>
                </c:pt>
                <c:pt idx="20">
                  <c:v>94.8</c:v>
                </c:pt>
                <c:pt idx="21">
                  <c:v>11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rPr lang="en-US"/>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rPr lang="en-US"/>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E$2:$E$23</c:f>
              <c:numCache>
                <c:formatCode>General</c:formatCode>
                <c:ptCount val="22"/>
                <c:pt idx="0">
                  <c:v>1.21</c:v>
                </c:pt>
                <c:pt idx="1">
                  <c:v>1.9649999999999999</c:v>
                </c:pt>
                <c:pt idx="2">
                  <c:v>3.96</c:v>
                </c:pt>
                <c:pt idx="3">
                  <c:v>3.9249999999999998</c:v>
                </c:pt>
                <c:pt idx="4">
                  <c:v>3.95</c:v>
                </c:pt>
                <c:pt idx="5">
                  <c:v>5.4749999999999996</c:v>
                </c:pt>
                <c:pt idx="6">
                  <c:v>6.21</c:v>
                </c:pt>
                <c:pt idx="7">
                  <c:v>8.58</c:v>
                </c:pt>
                <c:pt idx="8">
                  <c:v>10.4</c:v>
                </c:pt>
                <c:pt idx="9">
                  <c:v>15.32</c:v>
                </c:pt>
                <c:pt idx="10">
                  <c:v>13.675000000000001</c:v>
                </c:pt>
                <c:pt idx="11">
                  <c:v>15.414999999999999</c:v>
                </c:pt>
                <c:pt idx="12">
                  <c:v>30.115000000000002</c:v>
                </c:pt>
                <c:pt idx="13">
                  <c:v>31.49</c:v>
                </c:pt>
                <c:pt idx="14">
                  <c:v>29.575000000000003</c:v>
                </c:pt>
                <c:pt idx="15">
                  <c:v>24.365000000000002</c:v>
                </c:pt>
                <c:pt idx="16">
                  <c:v>32.064999999999998</c:v>
                </c:pt>
                <c:pt idx="17">
                  <c:v>26.535</c:v>
                </c:pt>
                <c:pt idx="18">
                  <c:v>44.08</c:v>
                </c:pt>
                <c:pt idx="19">
                  <c:v>97.07</c:v>
                </c:pt>
                <c:pt idx="20">
                  <c:v>95.585000000000008</c:v>
                </c:pt>
                <c:pt idx="21">
                  <c:v>131.2699999999999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scaling>
        <c:delete val="0"/>
        <c:axPos val="r"/>
        <c:numFmt formatCode="General"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B$2:$B$23</c:f>
              <c:numCache>
                <c:formatCode>General</c:formatCode>
                <c:ptCount val="22"/>
                <c:pt idx="0">
                  <c:v>13</c:v>
                </c:pt>
                <c:pt idx="1">
                  <c:v>1</c:v>
                </c:pt>
                <c:pt idx="2">
                  <c:v>5</c:v>
                </c:pt>
                <c:pt idx="3">
                  <c:v>14</c:v>
                </c:pt>
                <c:pt idx="4">
                  <c:v>123</c:v>
                </c:pt>
                <c:pt idx="5">
                  <c:v>0</c:v>
                </c:pt>
                <c:pt idx="6">
                  <c:v>0</c:v>
                </c:pt>
                <c:pt idx="7">
                  <c:v>0</c:v>
                </c:pt>
                <c:pt idx="8">
                  <c:v>13</c:v>
                </c:pt>
                <c:pt idx="9">
                  <c:v>0</c:v>
                </c:pt>
                <c:pt idx="10">
                  <c:v>0</c:v>
                </c:pt>
                <c:pt idx="11">
                  <c:v>0</c:v>
                </c:pt>
                <c:pt idx="12">
                  <c:v>0</c:v>
                </c:pt>
                <c:pt idx="13">
                  <c:v>0</c:v>
                </c:pt>
                <c:pt idx="14">
                  <c:v>0</c:v>
                </c:pt>
                <c:pt idx="15">
                  <c:v>1</c:v>
                </c:pt>
                <c:pt idx="16">
                  <c:v>0</c:v>
                </c:pt>
                <c:pt idx="17">
                  <c:v>8</c:v>
                </c:pt>
                <c:pt idx="18">
                  <c:v>0</c:v>
                </c:pt>
                <c:pt idx="19">
                  <c:v>0</c:v>
                </c:pt>
                <c:pt idx="20">
                  <c:v>6</c:v>
                </c:pt>
                <c:pt idx="21">
                  <c:v>0</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C$2:$C$23</c:f>
              <c:numCache>
                <c:formatCode>General</c:formatCode>
                <c:ptCount val="22"/>
                <c:pt idx="0">
                  <c:v>1.1399999999999999</c:v>
                </c:pt>
                <c:pt idx="1">
                  <c:v>2.15</c:v>
                </c:pt>
                <c:pt idx="2">
                  <c:v>4.46</c:v>
                </c:pt>
                <c:pt idx="3">
                  <c:v>4</c:v>
                </c:pt>
                <c:pt idx="4">
                  <c:v>3.95</c:v>
                </c:pt>
                <c:pt idx="5">
                  <c:v>6.9</c:v>
                </c:pt>
                <c:pt idx="6">
                  <c:v>7.58</c:v>
                </c:pt>
                <c:pt idx="7">
                  <c:v>8.27</c:v>
                </c:pt>
                <c:pt idx="8">
                  <c:v>10.92</c:v>
                </c:pt>
                <c:pt idx="9">
                  <c:v>18.79</c:v>
                </c:pt>
                <c:pt idx="10">
                  <c:v>15.11</c:v>
                </c:pt>
                <c:pt idx="11">
                  <c:v>16.61</c:v>
                </c:pt>
                <c:pt idx="12">
                  <c:v>39</c:v>
                </c:pt>
                <c:pt idx="13">
                  <c:v>38.69</c:v>
                </c:pt>
                <c:pt idx="14">
                  <c:v>34.56</c:v>
                </c:pt>
                <c:pt idx="15">
                  <c:v>22.36</c:v>
                </c:pt>
                <c:pt idx="16">
                  <c:v>35.590000000000003</c:v>
                </c:pt>
                <c:pt idx="17">
                  <c:v>22.95</c:v>
                </c:pt>
                <c:pt idx="18">
                  <c:v>45.5</c:v>
                </c:pt>
                <c:pt idx="19">
                  <c:v>101.71</c:v>
                </c:pt>
                <c:pt idx="20">
                  <c:v>96.37</c:v>
                </c:pt>
                <c:pt idx="21">
                  <c:v>144.0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D$2:$D$23</c:f>
              <c:numCache>
                <c:formatCode>General</c:formatCode>
                <c:ptCount val="22"/>
                <c:pt idx="0">
                  <c:v>1.28</c:v>
                </c:pt>
                <c:pt idx="1">
                  <c:v>1.78</c:v>
                </c:pt>
                <c:pt idx="2">
                  <c:v>3.46</c:v>
                </c:pt>
                <c:pt idx="3">
                  <c:v>3.85</c:v>
                </c:pt>
                <c:pt idx="4">
                  <c:v>3.95</c:v>
                </c:pt>
                <c:pt idx="5">
                  <c:v>4.05</c:v>
                </c:pt>
                <c:pt idx="6">
                  <c:v>4.84</c:v>
                </c:pt>
                <c:pt idx="7">
                  <c:v>8.89</c:v>
                </c:pt>
                <c:pt idx="8">
                  <c:v>9.8800000000000008</c:v>
                </c:pt>
                <c:pt idx="9">
                  <c:v>11.85</c:v>
                </c:pt>
                <c:pt idx="10">
                  <c:v>12.24</c:v>
                </c:pt>
                <c:pt idx="11">
                  <c:v>14.22</c:v>
                </c:pt>
                <c:pt idx="12">
                  <c:v>21.23</c:v>
                </c:pt>
                <c:pt idx="13">
                  <c:v>24.29</c:v>
                </c:pt>
                <c:pt idx="14">
                  <c:v>24.59</c:v>
                </c:pt>
                <c:pt idx="15">
                  <c:v>26.37</c:v>
                </c:pt>
                <c:pt idx="16">
                  <c:v>28.54</c:v>
                </c:pt>
                <c:pt idx="17">
                  <c:v>30.12</c:v>
                </c:pt>
                <c:pt idx="18">
                  <c:v>42.66</c:v>
                </c:pt>
                <c:pt idx="19">
                  <c:v>92.43</c:v>
                </c:pt>
                <c:pt idx="20">
                  <c:v>94.8</c:v>
                </c:pt>
                <c:pt idx="21">
                  <c:v>11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rPr lang="en-US"/>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rPr lang="en-US"/>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E$2:$E$23</c:f>
              <c:numCache>
                <c:formatCode>General</c:formatCode>
                <c:ptCount val="22"/>
                <c:pt idx="0">
                  <c:v>1.21</c:v>
                </c:pt>
                <c:pt idx="1">
                  <c:v>1.9649999999999999</c:v>
                </c:pt>
                <c:pt idx="2">
                  <c:v>3.96</c:v>
                </c:pt>
                <c:pt idx="3">
                  <c:v>3.9249999999999998</c:v>
                </c:pt>
                <c:pt idx="4">
                  <c:v>3.95</c:v>
                </c:pt>
                <c:pt idx="5">
                  <c:v>5.4749999999999996</c:v>
                </c:pt>
                <c:pt idx="6">
                  <c:v>6.21</c:v>
                </c:pt>
                <c:pt idx="7">
                  <c:v>8.58</c:v>
                </c:pt>
                <c:pt idx="8">
                  <c:v>10.4</c:v>
                </c:pt>
                <c:pt idx="9">
                  <c:v>15.32</c:v>
                </c:pt>
                <c:pt idx="10">
                  <c:v>13.675000000000001</c:v>
                </c:pt>
                <c:pt idx="11">
                  <c:v>15.414999999999999</c:v>
                </c:pt>
                <c:pt idx="12">
                  <c:v>30.115000000000002</c:v>
                </c:pt>
                <c:pt idx="13">
                  <c:v>31.49</c:v>
                </c:pt>
                <c:pt idx="14">
                  <c:v>29.575000000000003</c:v>
                </c:pt>
                <c:pt idx="15">
                  <c:v>24.365000000000002</c:v>
                </c:pt>
                <c:pt idx="16">
                  <c:v>32.064999999999998</c:v>
                </c:pt>
                <c:pt idx="17">
                  <c:v>26.535</c:v>
                </c:pt>
                <c:pt idx="18">
                  <c:v>44.08</c:v>
                </c:pt>
                <c:pt idx="19">
                  <c:v>97.07</c:v>
                </c:pt>
                <c:pt idx="20">
                  <c:v>95.585000000000008</c:v>
                </c:pt>
                <c:pt idx="21">
                  <c:v>131.2699999999999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scaling>
        <c:delete val="0"/>
        <c:axPos val="r"/>
        <c:numFmt formatCode="General"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B$2:$B$23</c:f>
              <c:numCache>
                <c:formatCode>General</c:formatCode>
                <c:ptCount val="22"/>
                <c:pt idx="0">
                  <c:v>13</c:v>
                </c:pt>
                <c:pt idx="1">
                  <c:v>1</c:v>
                </c:pt>
                <c:pt idx="2">
                  <c:v>5</c:v>
                </c:pt>
                <c:pt idx="3">
                  <c:v>14</c:v>
                </c:pt>
                <c:pt idx="4">
                  <c:v>123</c:v>
                </c:pt>
                <c:pt idx="5">
                  <c:v>0</c:v>
                </c:pt>
                <c:pt idx="6">
                  <c:v>0</c:v>
                </c:pt>
                <c:pt idx="7">
                  <c:v>0</c:v>
                </c:pt>
                <c:pt idx="8">
                  <c:v>13</c:v>
                </c:pt>
                <c:pt idx="9">
                  <c:v>0</c:v>
                </c:pt>
                <c:pt idx="10">
                  <c:v>0</c:v>
                </c:pt>
                <c:pt idx="11">
                  <c:v>0</c:v>
                </c:pt>
                <c:pt idx="12">
                  <c:v>0</c:v>
                </c:pt>
                <c:pt idx="13">
                  <c:v>0</c:v>
                </c:pt>
                <c:pt idx="14">
                  <c:v>0</c:v>
                </c:pt>
                <c:pt idx="15">
                  <c:v>1</c:v>
                </c:pt>
                <c:pt idx="16">
                  <c:v>0</c:v>
                </c:pt>
                <c:pt idx="17">
                  <c:v>8</c:v>
                </c:pt>
                <c:pt idx="18">
                  <c:v>0</c:v>
                </c:pt>
                <c:pt idx="19">
                  <c:v>0</c:v>
                </c:pt>
                <c:pt idx="20">
                  <c:v>6</c:v>
                </c:pt>
                <c:pt idx="21">
                  <c:v>0</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C$2:$C$23</c:f>
              <c:numCache>
                <c:formatCode>General</c:formatCode>
                <c:ptCount val="22"/>
                <c:pt idx="0">
                  <c:v>1.1399999999999999</c:v>
                </c:pt>
                <c:pt idx="1">
                  <c:v>2.15</c:v>
                </c:pt>
                <c:pt idx="2">
                  <c:v>4.46</c:v>
                </c:pt>
                <c:pt idx="3">
                  <c:v>4</c:v>
                </c:pt>
                <c:pt idx="4">
                  <c:v>3.95</c:v>
                </c:pt>
                <c:pt idx="5">
                  <c:v>6.9</c:v>
                </c:pt>
                <c:pt idx="6">
                  <c:v>7.58</c:v>
                </c:pt>
                <c:pt idx="7">
                  <c:v>8.27</c:v>
                </c:pt>
                <c:pt idx="8">
                  <c:v>10.92</c:v>
                </c:pt>
                <c:pt idx="9">
                  <c:v>18.79</c:v>
                </c:pt>
                <c:pt idx="10">
                  <c:v>15.11</c:v>
                </c:pt>
                <c:pt idx="11">
                  <c:v>16.61</c:v>
                </c:pt>
                <c:pt idx="12">
                  <c:v>39</c:v>
                </c:pt>
                <c:pt idx="13">
                  <c:v>38.69</c:v>
                </c:pt>
                <c:pt idx="14">
                  <c:v>34.56</c:v>
                </c:pt>
                <c:pt idx="15">
                  <c:v>22.36</c:v>
                </c:pt>
                <c:pt idx="16">
                  <c:v>35.590000000000003</c:v>
                </c:pt>
                <c:pt idx="17">
                  <c:v>22.95</c:v>
                </c:pt>
                <c:pt idx="18">
                  <c:v>45.5</c:v>
                </c:pt>
                <c:pt idx="19">
                  <c:v>101.71</c:v>
                </c:pt>
                <c:pt idx="20">
                  <c:v>96.37</c:v>
                </c:pt>
                <c:pt idx="21">
                  <c:v>144.0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D$2:$D$23</c:f>
              <c:numCache>
                <c:formatCode>General</c:formatCode>
                <c:ptCount val="22"/>
                <c:pt idx="0">
                  <c:v>1.28</c:v>
                </c:pt>
                <c:pt idx="1">
                  <c:v>1.78</c:v>
                </c:pt>
                <c:pt idx="2">
                  <c:v>3.46</c:v>
                </c:pt>
                <c:pt idx="3">
                  <c:v>3.85</c:v>
                </c:pt>
                <c:pt idx="4">
                  <c:v>3.95</c:v>
                </c:pt>
                <c:pt idx="5">
                  <c:v>4.05</c:v>
                </c:pt>
                <c:pt idx="6">
                  <c:v>4.84</c:v>
                </c:pt>
                <c:pt idx="7">
                  <c:v>8.89</c:v>
                </c:pt>
                <c:pt idx="8">
                  <c:v>9.8800000000000008</c:v>
                </c:pt>
                <c:pt idx="9">
                  <c:v>11.85</c:v>
                </c:pt>
                <c:pt idx="10">
                  <c:v>12.24</c:v>
                </c:pt>
                <c:pt idx="11">
                  <c:v>14.22</c:v>
                </c:pt>
                <c:pt idx="12">
                  <c:v>21.23</c:v>
                </c:pt>
                <c:pt idx="13">
                  <c:v>24.29</c:v>
                </c:pt>
                <c:pt idx="14">
                  <c:v>24.59</c:v>
                </c:pt>
                <c:pt idx="15">
                  <c:v>26.37</c:v>
                </c:pt>
                <c:pt idx="16">
                  <c:v>28.54</c:v>
                </c:pt>
                <c:pt idx="17">
                  <c:v>30.12</c:v>
                </c:pt>
                <c:pt idx="18">
                  <c:v>42.66</c:v>
                </c:pt>
                <c:pt idx="19">
                  <c:v>92.43</c:v>
                </c:pt>
                <c:pt idx="20">
                  <c:v>94.8</c:v>
                </c:pt>
                <c:pt idx="21">
                  <c:v>11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rPr lang="en-US"/>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rPr lang="en-US"/>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E$2:$E$23</c:f>
              <c:numCache>
                <c:formatCode>General</c:formatCode>
                <c:ptCount val="22"/>
                <c:pt idx="0">
                  <c:v>1.21</c:v>
                </c:pt>
                <c:pt idx="1">
                  <c:v>1.9649999999999999</c:v>
                </c:pt>
                <c:pt idx="2">
                  <c:v>3.96</c:v>
                </c:pt>
                <c:pt idx="3">
                  <c:v>3.9249999999999998</c:v>
                </c:pt>
                <c:pt idx="4">
                  <c:v>3.95</c:v>
                </c:pt>
                <c:pt idx="5">
                  <c:v>5.4749999999999996</c:v>
                </c:pt>
                <c:pt idx="6">
                  <c:v>6.21</c:v>
                </c:pt>
                <c:pt idx="7">
                  <c:v>8.58</c:v>
                </c:pt>
                <c:pt idx="8">
                  <c:v>10.4</c:v>
                </c:pt>
                <c:pt idx="9">
                  <c:v>15.32</c:v>
                </c:pt>
                <c:pt idx="10">
                  <c:v>13.675000000000001</c:v>
                </c:pt>
                <c:pt idx="11">
                  <c:v>15.414999999999999</c:v>
                </c:pt>
                <c:pt idx="12">
                  <c:v>30.115000000000002</c:v>
                </c:pt>
                <c:pt idx="13">
                  <c:v>31.49</c:v>
                </c:pt>
                <c:pt idx="14">
                  <c:v>29.575000000000003</c:v>
                </c:pt>
                <c:pt idx="15">
                  <c:v>24.365000000000002</c:v>
                </c:pt>
                <c:pt idx="16">
                  <c:v>32.064999999999998</c:v>
                </c:pt>
                <c:pt idx="17">
                  <c:v>26.535</c:v>
                </c:pt>
                <c:pt idx="18">
                  <c:v>44.08</c:v>
                </c:pt>
                <c:pt idx="19">
                  <c:v>97.07</c:v>
                </c:pt>
                <c:pt idx="20">
                  <c:v>95.585000000000008</c:v>
                </c:pt>
                <c:pt idx="21">
                  <c:v>131.2699999999999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scaling>
        <c:delete val="0"/>
        <c:axPos val="r"/>
        <c:numFmt formatCode="General"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B$2:$B$23</c:f>
              <c:numCache>
                <c:formatCode>General</c:formatCode>
                <c:ptCount val="22"/>
                <c:pt idx="0">
                  <c:v>13</c:v>
                </c:pt>
                <c:pt idx="1">
                  <c:v>1</c:v>
                </c:pt>
                <c:pt idx="2">
                  <c:v>5</c:v>
                </c:pt>
                <c:pt idx="3">
                  <c:v>14</c:v>
                </c:pt>
                <c:pt idx="4">
                  <c:v>123</c:v>
                </c:pt>
                <c:pt idx="5">
                  <c:v>0</c:v>
                </c:pt>
                <c:pt idx="6">
                  <c:v>0</c:v>
                </c:pt>
                <c:pt idx="7">
                  <c:v>0</c:v>
                </c:pt>
                <c:pt idx="8">
                  <c:v>13</c:v>
                </c:pt>
                <c:pt idx="9">
                  <c:v>0</c:v>
                </c:pt>
                <c:pt idx="10">
                  <c:v>0</c:v>
                </c:pt>
                <c:pt idx="11">
                  <c:v>0</c:v>
                </c:pt>
                <c:pt idx="12">
                  <c:v>0</c:v>
                </c:pt>
                <c:pt idx="13">
                  <c:v>0</c:v>
                </c:pt>
                <c:pt idx="14">
                  <c:v>0</c:v>
                </c:pt>
                <c:pt idx="15">
                  <c:v>1</c:v>
                </c:pt>
                <c:pt idx="16">
                  <c:v>0</c:v>
                </c:pt>
                <c:pt idx="17">
                  <c:v>8</c:v>
                </c:pt>
                <c:pt idx="18">
                  <c:v>0</c:v>
                </c:pt>
                <c:pt idx="19">
                  <c:v>0</c:v>
                </c:pt>
                <c:pt idx="20">
                  <c:v>6</c:v>
                </c:pt>
                <c:pt idx="21">
                  <c:v>0</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C$2:$C$23</c:f>
              <c:numCache>
                <c:formatCode>General</c:formatCode>
                <c:ptCount val="22"/>
                <c:pt idx="0">
                  <c:v>1.1399999999999999</c:v>
                </c:pt>
                <c:pt idx="1">
                  <c:v>2.15</c:v>
                </c:pt>
                <c:pt idx="2">
                  <c:v>4.46</c:v>
                </c:pt>
                <c:pt idx="3">
                  <c:v>4</c:v>
                </c:pt>
                <c:pt idx="4">
                  <c:v>3.95</c:v>
                </c:pt>
                <c:pt idx="5">
                  <c:v>6.9</c:v>
                </c:pt>
                <c:pt idx="6">
                  <c:v>7.58</c:v>
                </c:pt>
                <c:pt idx="7">
                  <c:v>8.27</c:v>
                </c:pt>
                <c:pt idx="8">
                  <c:v>10.92</c:v>
                </c:pt>
                <c:pt idx="9">
                  <c:v>18.79</c:v>
                </c:pt>
                <c:pt idx="10">
                  <c:v>15.11</c:v>
                </c:pt>
                <c:pt idx="11">
                  <c:v>16.61</c:v>
                </c:pt>
                <c:pt idx="12">
                  <c:v>39</c:v>
                </c:pt>
                <c:pt idx="13">
                  <c:v>38.69</c:v>
                </c:pt>
                <c:pt idx="14">
                  <c:v>34.56</c:v>
                </c:pt>
                <c:pt idx="15">
                  <c:v>22.36</c:v>
                </c:pt>
                <c:pt idx="16">
                  <c:v>35.590000000000003</c:v>
                </c:pt>
                <c:pt idx="17">
                  <c:v>22.95</c:v>
                </c:pt>
                <c:pt idx="18">
                  <c:v>45.5</c:v>
                </c:pt>
                <c:pt idx="19">
                  <c:v>101.71</c:v>
                </c:pt>
                <c:pt idx="20">
                  <c:v>96.37</c:v>
                </c:pt>
                <c:pt idx="21">
                  <c:v>144.0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D$2:$D$23</c:f>
              <c:numCache>
                <c:formatCode>General</c:formatCode>
                <c:ptCount val="22"/>
                <c:pt idx="0">
                  <c:v>1.28</c:v>
                </c:pt>
                <c:pt idx="1">
                  <c:v>1.78</c:v>
                </c:pt>
                <c:pt idx="2">
                  <c:v>3.46</c:v>
                </c:pt>
                <c:pt idx="3">
                  <c:v>3.85</c:v>
                </c:pt>
                <c:pt idx="4">
                  <c:v>3.95</c:v>
                </c:pt>
                <c:pt idx="5">
                  <c:v>4.05</c:v>
                </c:pt>
                <c:pt idx="6">
                  <c:v>4.84</c:v>
                </c:pt>
                <c:pt idx="7">
                  <c:v>8.89</c:v>
                </c:pt>
                <c:pt idx="8">
                  <c:v>9.8800000000000008</c:v>
                </c:pt>
                <c:pt idx="9">
                  <c:v>11.85</c:v>
                </c:pt>
                <c:pt idx="10">
                  <c:v>12.24</c:v>
                </c:pt>
                <c:pt idx="11">
                  <c:v>14.22</c:v>
                </c:pt>
                <c:pt idx="12">
                  <c:v>21.23</c:v>
                </c:pt>
                <c:pt idx="13">
                  <c:v>24.29</c:v>
                </c:pt>
                <c:pt idx="14">
                  <c:v>24.59</c:v>
                </c:pt>
                <c:pt idx="15">
                  <c:v>26.37</c:v>
                </c:pt>
                <c:pt idx="16">
                  <c:v>28.54</c:v>
                </c:pt>
                <c:pt idx="17">
                  <c:v>30.12</c:v>
                </c:pt>
                <c:pt idx="18">
                  <c:v>42.66</c:v>
                </c:pt>
                <c:pt idx="19">
                  <c:v>92.43</c:v>
                </c:pt>
                <c:pt idx="20">
                  <c:v>94.8</c:v>
                </c:pt>
                <c:pt idx="21">
                  <c:v>11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rPr lang="en-US"/>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rPr lang="en-US"/>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E$2:$E$23</c:f>
              <c:numCache>
                <c:formatCode>General</c:formatCode>
                <c:ptCount val="22"/>
                <c:pt idx="0">
                  <c:v>1.21</c:v>
                </c:pt>
                <c:pt idx="1">
                  <c:v>1.9649999999999999</c:v>
                </c:pt>
                <c:pt idx="2">
                  <c:v>3.96</c:v>
                </c:pt>
                <c:pt idx="3">
                  <c:v>3.9249999999999998</c:v>
                </c:pt>
                <c:pt idx="4">
                  <c:v>3.95</c:v>
                </c:pt>
                <c:pt idx="5">
                  <c:v>5.4749999999999996</c:v>
                </c:pt>
                <c:pt idx="6">
                  <c:v>6.21</c:v>
                </c:pt>
                <c:pt idx="7">
                  <c:v>8.58</c:v>
                </c:pt>
                <c:pt idx="8">
                  <c:v>10.4</c:v>
                </c:pt>
                <c:pt idx="9">
                  <c:v>15.32</c:v>
                </c:pt>
                <c:pt idx="10">
                  <c:v>13.675000000000001</c:v>
                </c:pt>
                <c:pt idx="11">
                  <c:v>15.414999999999999</c:v>
                </c:pt>
                <c:pt idx="12">
                  <c:v>30.115000000000002</c:v>
                </c:pt>
                <c:pt idx="13">
                  <c:v>31.49</c:v>
                </c:pt>
                <c:pt idx="14">
                  <c:v>29.575000000000003</c:v>
                </c:pt>
                <c:pt idx="15">
                  <c:v>24.365000000000002</c:v>
                </c:pt>
                <c:pt idx="16">
                  <c:v>32.064999999999998</c:v>
                </c:pt>
                <c:pt idx="17">
                  <c:v>26.535</c:v>
                </c:pt>
                <c:pt idx="18">
                  <c:v>44.08</c:v>
                </c:pt>
                <c:pt idx="19">
                  <c:v>97.07</c:v>
                </c:pt>
                <c:pt idx="20">
                  <c:v>95.585000000000008</c:v>
                </c:pt>
                <c:pt idx="21">
                  <c:v>131.2699999999999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scaling>
        <c:delete val="0"/>
        <c:axPos val="r"/>
        <c:numFmt formatCode="General"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B$2:$B$23</c:f>
              <c:numCache>
                <c:formatCode>General</c:formatCode>
                <c:ptCount val="22"/>
                <c:pt idx="0">
                  <c:v>13</c:v>
                </c:pt>
                <c:pt idx="1">
                  <c:v>1</c:v>
                </c:pt>
                <c:pt idx="2">
                  <c:v>5</c:v>
                </c:pt>
                <c:pt idx="3">
                  <c:v>14</c:v>
                </c:pt>
                <c:pt idx="4">
                  <c:v>123</c:v>
                </c:pt>
                <c:pt idx="5">
                  <c:v>0</c:v>
                </c:pt>
                <c:pt idx="6">
                  <c:v>0</c:v>
                </c:pt>
                <c:pt idx="7">
                  <c:v>0</c:v>
                </c:pt>
                <c:pt idx="8">
                  <c:v>13</c:v>
                </c:pt>
                <c:pt idx="9">
                  <c:v>0</c:v>
                </c:pt>
                <c:pt idx="10">
                  <c:v>0</c:v>
                </c:pt>
                <c:pt idx="11">
                  <c:v>0</c:v>
                </c:pt>
                <c:pt idx="12">
                  <c:v>0</c:v>
                </c:pt>
                <c:pt idx="13">
                  <c:v>0</c:v>
                </c:pt>
                <c:pt idx="14">
                  <c:v>0</c:v>
                </c:pt>
                <c:pt idx="15">
                  <c:v>1</c:v>
                </c:pt>
                <c:pt idx="16">
                  <c:v>0</c:v>
                </c:pt>
                <c:pt idx="17">
                  <c:v>8</c:v>
                </c:pt>
                <c:pt idx="18">
                  <c:v>0</c:v>
                </c:pt>
                <c:pt idx="19">
                  <c:v>0</c:v>
                </c:pt>
                <c:pt idx="20">
                  <c:v>6</c:v>
                </c:pt>
                <c:pt idx="21">
                  <c:v>0</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C$2:$C$23</c:f>
              <c:numCache>
                <c:formatCode>General</c:formatCode>
                <c:ptCount val="22"/>
                <c:pt idx="0">
                  <c:v>1.1399999999999999</c:v>
                </c:pt>
                <c:pt idx="1">
                  <c:v>2.15</c:v>
                </c:pt>
                <c:pt idx="2">
                  <c:v>4.46</c:v>
                </c:pt>
                <c:pt idx="3">
                  <c:v>4</c:v>
                </c:pt>
                <c:pt idx="4">
                  <c:v>3.95</c:v>
                </c:pt>
                <c:pt idx="5">
                  <c:v>6.9</c:v>
                </c:pt>
                <c:pt idx="6">
                  <c:v>7.58</c:v>
                </c:pt>
                <c:pt idx="7">
                  <c:v>8.27</c:v>
                </c:pt>
                <c:pt idx="8">
                  <c:v>10.92</c:v>
                </c:pt>
                <c:pt idx="9">
                  <c:v>18.79</c:v>
                </c:pt>
                <c:pt idx="10">
                  <c:v>15.11</c:v>
                </c:pt>
                <c:pt idx="11">
                  <c:v>16.61</c:v>
                </c:pt>
                <c:pt idx="12">
                  <c:v>39</c:v>
                </c:pt>
                <c:pt idx="13">
                  <c:v>38.69</c:v>
                </c:pt>
                <c:pt idx="14">
                  <c:v>34.56</c:v>
                </c:pt>
                <c:pt idx="15">
                  <c:v>22.36</c:v>
                </c:pt>
                <c:pt idx="16">
                  <c:v>35.590000000000003</c:v>
                </c:pt>
                <c:pt idx="17">
                  <c:v>22.95</c:v>
                </c:pt>
                <c:pt idx="18">
                  <c:v>45.5</c:v>
                </c:pt>
                <c:pt idx="19">
                  <c:v>101.71</c:v>
                </c:pt>
                <c:pt idx="20">
                  <c:v>96.37</c:v>
                </c:pt>
                <c:pt idx="21">
                  <c:v>144.0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D$2:$D$23</c:f>
              <c:numCache>
                <c:formatCode>General</c:formatCode>
                <c:ptCount val="22"/>
                <c:pt idx="0">
                  <c:v>1.28</c:v>
                </c:pt>
                <c:pt idx="1">
                  <c:v>1.78</c:v>
                </c:pt>
                <c:pt idx="2">
                  <c:v>3.46</c:v>
                </c:pt>
                <c:pt idx="3">
                  <c:v>3.85</c:v>
                </c:pt>
                <c:pt idx="4">
                  <c:v>3.95</c:v>
                </c:pt>
                <c:pt idx="5">
                  <c:v>4.05</c:v>
                </c:pt>
                <c:pt idx="6">
                  <c:v>4.84</c:v>
                </c:pt>
                <c:pt idx="7">
                  <c:v>8.89</c:v>
                </c:pt>
                <c:pt idx="8">
                  <c:v>9.8800000000000008</c:v>
                </c:pt>
                <c:pt idx="9">
                  <c:v>11.85</c:v>
                </c:pt>
                <c:pt idx="10">
                  <c:v>12.24</c:v>
                </c:pt>
                <c:pt idx="11">
                  <c:v>14.22</c:v>
                </c:pt>
                <c:pt idx="12">
                  <c:v>21.23</c:v>
                </c:pt>
                <c:pt idx="13">
                  <c:v>24.29</c:v>
                </c:pt>
                <c:pt idx="14">
                  <c:v>24.59</c:v>
                </c:pt>
                <c:pt idx="15">
                  <c:v>26.37</c:v>
                </c:pt>
                <c:pt idx="16">
                  <c:v>28.54</c:v>
                </c:pt>
                <c:pt idx="17">
                  <c:v>30.12</c:v>
                </c:pt>
                <c:pt idx="18">
                  <c:v>42.66</c:v>
                </c:pt>
                <c:pt idx="19">
                  <c:v>92.43</c:v>
                </c:pt>
                <c:pt idx="20">
                  <c:v>94.8</c:v>
                </c:pt>
                <c:pt idx="21">
                  <c:v>11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rPr lang="en-US"/>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rPr lang="en-US"/>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E$2:$E$23</c:f>
              <c:numCache>
                <c:formatCode>General</c:formatCode>
                <c:ptCount val="22"/>
                <c:pt idx="0">
                  <c:v>1.21</c:v>
                </c:pt>
                <c:pt idx="1">
                  <c:v>1.9649999999999999</c:v>
                </c:pt>
                <c:pt idx="2">
                  <c:v>3.96</c:v>
                </c:pt>
                <c:pt idx="3">
                  <c:v>3.9249999999999998</c:v>
                </c:pt>
                <c:pt idx="4">
                  <c:v>3.95</c:v>
                </c:pt>
                <c:pt idx="5">
                  <c:v>5.4749999999999996</c:v>
                </c:pt>
                <c:pt idx="6">
                  <c:v>6.21</c:v>
                </c:pt>
                <c:pt idx="7">
                  <c:v>8.58</c:v>
                </c:pt>
                <c:pt idx="8">
                  <c:v>10.4</c:v>
                </c:pt>
                <c:pt idx="9">
                  <c:v>15.32</c:v>
                </c:pt>
                <c:pt idx="10">
                  <c:v>13.675000000000001</c:v>
                </c:pt>
                <c:pt idx="11">
                  <c:v>15.414999999999999</c:v>
                </c:pt>
                <c:pt idx="12">
                  <c:v>30.115000000000002</c:v>
                </c:pt>
                <c:pt idx="13">
                  <c:v>31.49</c:v>
                </c:pt>
                <c:pt idx="14">
                  <c:v>29.575000000000003</c:v>
                </c:pt>
                <c:pt idx="15">
                  <c:v>24.365000000000002</c:v>
                </c:pt>
                <c:pt idx="16">
                  <c:v>32.064999999999998</c:v>
                </c:pt>
                <c:pt idx="17">
                  <c:v>26.535</c:v>
                </c:pt>
                <c:pt idx="18">
                  <c:v>44.08</c:v>
                </c:pt>
                <c:pt idx="19">
                  <c:v>97.07</c:v>
                </c:pt>
                <c:pt idx="20">
                  <c:v>95.585000000000008</c:v>
                </c:pt>
                <c:pt idx="21">
                  <c:v>131.2699999999999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scaling>
        <c:delete val="0"/>
        <c:axPos val="r"/>
        <c:numFmt formatCode="General"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B$2:$B$23</c:f>
              <c:numCache>
                <c:formatCode>General</c:formatCode>
                <c:ptCount val="22"/>
                <c:pt idx="0">
                  <c:v>13</c:v>
                </c:pt>
                <c:pt idx="1">
                  <c:v>1</c:v>
                </c:pt>
                <c:pt idx="2">
                  <c:v>5</c:v>
                </c:pt>
                <c:pt idx="3">
                  <c:v>14</c:v>
                </c:pt>
                <c:pt idx="4">
                  <c:v>123</c:v>
                </c:pt>
                <c:pt idx="5">
                  <c:v>0</c:v>
                </c:pt>
                <c:pt idx="6">
                  <c:v>0</c:v>
                </c:pt>
                <c:pt idx="7">
                  <c:v>0</c:v>
                </c:pt>
                <c:pt idx="8">
                  <c:v>13</c:v>
                </c:pt>
                <c:pt idx="9">
                  <c:v>0</c:v>
                </c:pt>
                <c:pt idx="10">
                  <c:v>0</c:v>
                </c:pt>
                <c:pt idx="11">
                  <c:v>0</c:v>
                </c:pt>
                <c:pt idx="12">
                  <c:v>0</c:v>
                </c:pt>
                <c:pt idx="13">
                  <c:v>0</c:v>
                </c:pt>
                <c:pt idx="14">
                  <c:v>0</c:v>
                </c:pt>
                <c:pt idx="15">
                  <c:v>1</c:v>
                </c:pt>
                <c:pt idx="16">
                  <c:v>0</c:v>
                </c:pt>
                <c:pt idx="17">
                  <c:v>8</c:v>
                </c:pt>
                <c:pt idx="18">
                  <c:v>0</c:v>
                </c:pt>
                <c:pt idx="19">
                  <c:v>0</c:v>
                </c:pt>
                <c:pt idx="20">
                  <c:v>6</c:v>
                </c:pt>
                <c:pt idx="21">
                  <c:v>0</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C$2:$C$23</c:f>
              <c:numCache>
                <c:formatCode>General</c:formatCode>
                <c:ptCount val="22"/>
                <c:pt idx="0">
                  <c:v>1.1399999999999999</c:v>
                </c:pt>
                <c:pt idx="1">
                  <c:v>2.15</c:v>
                </c:pt>
                <c:pt idx="2">
                  <c:v>4.46</c:v>
                </c:pt>
                <c:pt idx="3">
                  <c:v>4</c:v>
                </c:pt>
                <c:pt idx="4">
                  <c:v>3.95</c:v>
                </c:pt>
                <c:pt idx="5">
                  <c:v>6.9</c:v>
                </c:pt>
                <c:pt idx="6">
                  <c:v>7.58</c:v>
                </c:pt>
                <c:pt idx="7">
                  <c:v>8.27</c:v>
                </c:pt>
                <c:pt idx="8">
                  <c:v>10.92</c:v>
                </c:pt>
                <c:pt idx="9">
                  <c:v>18.79</c:v>
                </c:pt>
                <c:pt idx="10">
                  <c:v>15.11</c:v>
                </c:pt>
                <c:pt idx="11">
                  <c:v>16.61</c:v>
                </c:pt>
                <c:pt idx="12">
                  <c:v>39</c:v>
                </c:pt>
                <c:pt idx="13">
                  <c:v>38.69</c:v>
                </c:pt>
                <c:pt idx="14">
                  <c:v>34.56</c:v>
                </c:pt>
                <c:pt idx="15">
                  <c:v>22.36</c:v>
                </c:pt>
                <c:pt idx="16">
                  <c:v>35.590000000000003</c:v>
                </c:pt>
                <c:pt idx="17">
                  <c:v>22.95</c:v>
                </c:pt>
                <c:pt idx="18">
                  <c:v>45.5</c:v>
                </c:pt>
                <c:pt idx="19">
                  <c:v>101.71</c:v>
                </c:pt>
                <c:pt idx="20">
                  <c:v>96.37</c:v>
                </c:pt>
                <c:pt idx="21">
                  <c:v>144.0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D$2:$D$23</c:f>
              <c:numCache>
                <c:formatCode>General</c:formatCode>
                <c:ptCount val="22"/>
                <c:pt idx="0">
                  <c:v>1.28</c:v>
                </c:pt>
                <c:pt idx="1">
                  <c:v>1.78</c:v>
                </c:pt>
                <c:pt idx="2">
                  <c:v>3.46</c:v>
                </c:pt>
                <c:pt idx="3">
                  <c:v>3.85</c:v>
                </c:pt>
                <c:pt idx="4">
                  <c:v>3.95</c:v>
                </c:pt>
                <c:pt idx="5">
                  <c:v>4.05</c:v>
                </c:pt>
                <c:pt idx="6">
                  <c:v>4.84</c:v>
                </c:pt>
                <c:pt idx="7">
                  <c:v>8.89</c:v>
                </c:pt>
                <c:pt idx="8">
                  <c:v>9.8800000000000008</c:v>
                </c:pt>
                <c:pt idx="9">
                  <c:v>11.85</c:v>
                </c:pt>
                <c:pt idx="10">
                  <c:v>12.24</c:v>
                </c:pt>
                <c:pt idx="11">
                  <c:v>14.22</c:v>
                </c:pt>
                <c:pt idx="12">
                  <c:v>21.23</c:v>
                </c:pt>
                <c:pt idx="13">
                  <c:v>24.29</c:v>
                </c:pt>
                <c:pt idx="14">
                  <c:v>24.59</c:v>
                </c:pt>
                <c:pt idx="15">
                  <c:v>26.37</c:v>
                </c:pt>
                <c:pt idx="16">
                  <c:v>28.54</c:v>
                </c:pt>
                <c:pt idx="17">
                  <c:v>30.12</c:v>
                </c:pt>
                <c:pt idx="18">
                  <c:v>42.66</c:v>
                </c:pt>
                <c:pt idx="19">
                  <c:v>92.43</c:v>
                </c:pt>
                <c:pt idx="20">
                  <c:v>94.8</c:v>
                </c:pt>
                <c:pt idx="21">
                  <c:v>11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rPr lang="en-US"/>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rPr lang="en-US"/>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E$2:$E$23</c:f>
              <c:numCache>
                <c:formatCode>General</c:formatCode>
                <c:ptCount val="22"/>
                <c:pt idx="0">
                  <c:v>1.21</c:v>
                </c:pt>
                <c:pt idx="1">
                  <c:v>1.9649999999999999</c:v>
                </c:pt>
                <c:pt idx="2">
                  <c:v>3.96</c:v>
                </c:pt>
                <c:pt idx="3">
                  <c:v>3.9249999999999998</c:v>
                </c:pt>
                <c:pt idx="4">
                  <c:v>3.95</c:v>
                </c:pt>
                <c:pt idx="5">
                  <c:v>5.4749999999999996</c:v>
                </c:pt>
                <c:pt idx="6">
                  <c:v>6.21</c:v>
                </c:pt>
                <c:pt idx="7">
                  <c:v>8.58</c:v>
                </c:pt>
                <c:pt idx="8">
                  <c:v>10.4</c:v>
                </c:pt>
                <c:pt idx="9">
                  <c:v>15.32</c:v>
                </c:pt>
                <c:pt idx="10">
                  <c:v>13.675000000000001</c:v>
                </c:pt>
                <c:pt idx="11">
                  <c:v>15.414999999999999</c:v>
                </c:pt>
                <c:pt idx="12">
                  <c:v>30.115000000000002</c:v>
                </c:pt>
                <c:pt idx="13">
                  <c:v>31.49</c:v>
                </c:pt>
                <c:pt idx="14">
                  <c:v>29.575000000000003</c:v>
                </c:pt>
                <c:pt idx="15">
                  <c:v>24.365000000000002</c:v>
                </c:pt>
                <c:pt idx="16">
                  <c:v>32.064999999999998</c:v>
                </c:pt>
                <c:pt idx="17">
                  <c:v>26.535</c:v>
                </c:pt>
                <c:pt idx="18">
                  <c:v>44.08</c:v>
                </c:pt>
                <c:pt idx="19">
                  <c:v>97.07</c:v>
                </c:pt>
                <c:pt idx="20">
                  <c:v>95.585000000000008</c:v>
                </c:pt>
                <c:pt idx="21">
                  <c:v>131.2699999999999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scaling>
        <c:delete val="0"/>
        <c:axPos val="r"/>
        <c:numFmt formatCode="General"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B$2:$B$23</c:f>
              <c:numCache>
                <c:formatCode>General</c:formatCode>
                <c:ptCount val="22"/>
                <c:pt idx="0">
                  <c:v>13</c:v>
                </c:pt>
                <c:pt idx="1">
                  <c:v>1</c:v>
                </c:pt>
                <c:pt idx="2">
                  <c:v>5</c:v>
                </c:pt>
                <c:pt idx="3">
                  <c:v>14</c:v>
                </c:pt>
                <c:pt idx="4">
                  <c:v>123</c:v>
                </c:pt>
                <c:pt idx="5">
                  <c:v>0</c:v>
                </c:pt>
                <c:pt idx="6">
                  <c:v>0</c:v>
                </c:pt>
                <c:pt idx="7">
                  <c:v>0</c:v>
                </c:pt>
                <c:pt idx="8">
                  <c:v>13</c:v>
                </c:pt>
                <c:pt idx="9">
                  <c:v>0</c:v>
                </c:pt>
                <c:pt idx="10">
                  <c:v>0</c:v>
                </c:pt>
                <c:pt idx="11">
                  <c:v>0</c:v>
                </c:pt>
                <c:pt idx="12">
                  <c:v>0</c:v>
                </c:pt>
                <c:pt idx="13">
                  <c:v>0</c:v>
                </c:pt>
                <c:pt idx="14">
                  <c:v>0</c:v>
                </c:pt>
                <c:pt idx="15">
                  <c:v>1</c:v>
                </c:pt>
                <c:pt idx="16">
                  <c:v>0</c:v>
                </c:pt>
                <c:pt idx="17">
                  <c:v>8</c:v>
                </c:pt>
                <c:pt idx="18">
                  <c:v>0</c:v>
                </c:pt>
                <c:pt idx="19">
                  <c:v>0</c:v>
                </c:pt>
                <c:pt idx="20">
                  <c:v>6</c:v>
                </c:pt>
                <c:pt idx="21">
                  <c:v>0</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C$2:$C$23</c:f>
              <c:numCache>
                <c:formatCode>General</c:formatCode>
                <c:ptCount val="22"/>
                <c:pt idx="0">
                  <c:v>1.1399999999999999</c:v>
                </c:pt>
                <c:pt idx="1">
                  <c:v>2.15</c:v>
                </c:pt>
                <c:pt idx="2">
                  <c:v>4.46</c:v>
                </c:pt>
                <c:pt idx="3">
                  <c:v>4</c:v>
                </c:pt>
                <c:pt idx="4">
                  <c:v>3.95</c:v>
                </c:pt>
                <c:pt idx="5">
                  <c:v>6.9</c:v>
                </c:pt>
                <c:pt idx="6">
                  <c:v>7.58</c:v>
                </c:pt>
                <c:pt idx="7">
                  <c:v>8.27</c:v>
                </c:pt>
                <c:pt idx="8">
                  <c:v>10.92</c:v>
                </c:pt>
                <c:pt idx="9">
                  <c:v>18.79</c:v>
                </c:pt>
                <c:pt idx="10">
                  <c:v>15.11</c:v>
                </c:pt>
                <c:pt idx="11">
                  <c:v>16.61</c:v>
                </c:pt>
                <c:pt idx="12">
                  <c:v>39</c:v>
                </c:pt>
                <c:pt idx="13">
                  <c:v>38.69</c:v>
                </c:pt>
                <c:pt idx="14">
                  <c:v>34.56</c:v>
                </c:pt>
                <c:pt idx="15">
                  <c:v>22.36</c:v>
                </c:pt>
                <c:pt idx="16">
                  <c:v>35.590000000000003</c:v>
                </c:pt>
                <c:pt idx="17">
                  <c:v>22.95</c:v>
                </c:pt>
                <c:pt idx="18">
                  <c:v>45.5</c:v>
                </c:pt>
                <c:pt idx="19">
                  <c:v>101.71</c:v>
                </c:pt>
                <c:pt idx="20">
                  <c:v>96.37</c:v>
                </c:pt>
                <c:pt idx="21">
                  <c:v>144.0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D$2:$D$23</c:f>
              <c:numCache>
                <c:formatCode>General</c:formatCode>
                <c:ptCount val="22"/>
                <c:pt idx="0">
                  <c:v>1.28</c:v>
                </c:pt>
                <c:pt idx="1">
                  <c:v>1.78</c:v>
                </c:pt>
                <c:pt idx="2">
                  <c:v>3.46</c:v>
                </c:pt>
                <c:pt idx="3">
                  <c:v>3.85</c:v>
                </c:pt>
                <c:pt idx="4">
                  <c:v>3.95</c:v>
                </c:pt>
                <c:pt idx="5">
                  <c:v>4.05</c:v>
                </c:pt>
                <c:pt idx="6">
                  <c:v>4.84</c:v>
                </c:pt>
                <c:pt idx="7">
                  <c:v>8.89</c:v>
                </c:pt>
                <c:pt idx="8">
                  <c:v>9.8800000000000008</c:v>
                </c:pt>
                <c:pt idx="9">
                  <c:v>11.85</c:v>
                </c:pt>
                <c:pt idx="10">
                  <c:v>12.24</c:v>
                </c:pt>
                <c:pt idx="11">
                  <c:v>14.22</c:v>
                </c:pt>
                <c:pt idx="12">
                  <c:v>21.23</c:v>
                </c:pt>
                <c:pt idx="13">
                  <c:v>24.29</c:v>
                </c:pt>
                <c:pt idx="14">
                  <c:v>24.59</c:v>
                </c:pt>
                <c:pt idx="15">
                  <c:v>26.37</c:v>
                </c:pt>
                <c:pt idx="16">
                  <c:v>28.54</c:v>
                </c:pt>
                <c:pt idx="17">
                  <c:v>30.12</c:v>
                </c:pt>
                <c:pt idx="18">
                  <c:v>42.66</c:v>
                </c:pt>
                <c:pt idx="19">
                  <c:v>92.43</c:v>
                </c:pt>
                <c:pt idx="20">
                  <c:v>94.8</c:v>
                </c:pt>
                <c:pt idx="21">
                  <c:v>11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rPr lang="en-US"/>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rPr lang="en-US"/>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E$2:$E$23</c:f>
              <c:numCache>
                <c:formatCode>General</c:formatCode>
                <c:ptCount val="22"/>
                <c:pt idx="0">
                  <c:v>1.21</c:v>
                </c:pt>
                <c:pt idx="1">
                  <c:v>1.9649999999999999</c:v>
                </c:pt>
                <c:pt idx="2">
                  <c:v>3.96</c:v>
                </c:pt>
                <c:pt idx="3">
                  <c:v>3.9249999999999998</c:v>
                </c:pt>
                <c:pt idx="4">
                  <c:v>3.95</c:v>
                </c:pt>
                <c:pt idx="5">
                  <c:v>5.4749999999999996</c:v>
                </c:pt>
                <c:pt idx="6">
                  <c:v>6.21</c:v>
                </c:pt>
                <c:pt idx="7">
                  <c:v>8.58</c:v>
                </c:pt>
                <c:pt idx="8">
                  <c:v>10.4</c:v>
                </c:pt>
                <c:pt idx="9">
                  <c:v>15.32</c:v>
                </c:pt>
                <c:pt idx="10">
                  <c:v>13.675000000000001</c:v>
                </c:pt>
                <c:pt idx="11">
                  <c:v>15.414999999999999</c:v>
                </c:pt>
                <c:pt idx="12">
                  <c:v>30.115000000000002</c:v>
                </c:pt>
                <c:pt idx="13">
                  <c:v>31.49</c:v>
                </c:pt>
                <c:pt idx="14">
                  <c:v>29.575000000000003</c:v>
                </c:pt>
                <c:pt idx="15">
                  <c:v>24.365000000000002</c:v>
                </c:pt>
                <c:pt idx="16">
                  <c:v>32.064999999999998</c:v>
                </c:pt>
                <c:pt idx="17">
                  <c:v>26.535</c:v>
                </c:pt>
                <c:pt idx="18">
                  <c:v>44.08</c:v>
                </c:pt>
                <c:pt idx="19">
                  <c:v>97.07</c:v>
                </c:pt>
                <c:pt idx="20">
                  <c:v>95.585000000000008</c:v>
                </c:pt>
                <c:pt idx="21">
                  <c:v>131.2699999999999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scaling>
        <c:delete val="0"/>
        <c:axPos val="r"/>
        <c:numFmt formatCode="General"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B$2:$B$23</c:f>
              <c:numCache>
                <c:formatCode>General</c:formatCode>
                <c:ptCount val="22"/>
                <c:pt idx="0">
                  <c:v>13</c:v>
                </c:pt>
                <c:pt idx="1">
                  <c:v>1</c:v>
                </c:pt>
                <c:pt idx="2">
                  <c:v>5</c:v>
                </c:pt>
                <c:pt idx="3">
                  <c:v>14</c:v>
                </c:pt>
                <c:pt idx="4">
                  <c:v>123</c:v>
                </c:pt>
                <c:pt idx="5">
                  <c:v>0</c:v>
                </c:pt>
                <c:pt idx="6">
                  <c:v>0</c:v>
                </c:pt>
                <c:pt idx="7">
                  <c:v>0</c:v>
                </c:pt>
                <c:pt idx="8">
                  <c:v>13</c:v>
                </c:pt>
                <c:pt idx="9">
                  <c:v>0</c:v>
                </c:pt>
                <c:pt idx="10">
                  <c:v>0</c:v>
                </c:pt>
                <c:pt idx="11">
                  <c:v>0</c:v>
                </c:pt>
                <c:pt idx="12">
                  <c:v>0</c:v>
                </c:pt>
                <c:pt idx="13">
                  <c:v>0</c:v>
                </c:pt>
                <c:pt idx="14">
                  <c:v>0</c:v>
                </c:pt>
                <c:pt idx="15">
                  <c:v>1</c:v>
                </c:pt>
                <c:pt idx="16">
                  <c:v>0</c:v>
                </c:pt>
                <c:pt idx="17">
                  <c:v>8</c:v>
                </c:pt>
                <c:pt idx="18">
                  <c:v>0</c:v>
                </c:pt>
                <c:pt idx="19">
                  <c:v>0</c:v>
                </c:pt>
                <c:pt idx="20">
                  <c:v>6</c:v>
                </c:pt>
                <c:pt idx="21">
                  <c:v>0</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C$2:$C$23</c:f>
              <c:numCache>
                <c:formatCode>General</c:formatCode>
                <c:ptCount val="22"/>
                <c:pt idx="0">
                  <c:v>1.1399999999999999</c:v>
                </c:pt>
                <c:pt idx="1">
                  <c:v>2.15</c:v>
                </c:pt>
                <c:pt idx="2">
                  <c:v>4.46</c:v>
                </c:pt>
                <c:pt idx="3">
                  <c:v>4</c:v>
                </c:pt>
                <c:pt idx="4">
                  <c:v>3.95</c:v>
                </c:pt>
                <c:pt idx="5">
                  <c:v>6.9</c:v>
                </c:pt>
                <c:pt idx="6">
                  <c:v>7.58</c:v>
                </c:pt>
                <c:pt idx="7">
                  <c:v>8.27</c:v>
                </c:pt>
                <c:pt idx="8">
                  <c:v>10.92</c:v>
                </c:pt>
                <c:pt idx="9">
                  <c:v>18.79</c:v>
                </c:pt>
                <c:pt idx="10">
                  <c:v>15.11</c:v>
                </c:pt>
                <c:pt idx="11">
                  <c:v>16.61</c:v>
                </c:pt>
                <c:pt idx="12">
                  <c:v>39</c:v>
                </c:pt>
                <c:pt idx="13">
                  <c:v>38.69</c:v>
                </c:pt>
                <c:pt idx="14">
                  <c:v>34.56</c:v>
                </c:pt>
                <c:pt idx="15">
                  <c:v>22.36</c:v>
                </c:pt>
                <c:pt idx="16">
                  <c:v>35.590000000000003</c:v>
                </c:pt>
                <c:pt idx="17">
                  <c:v>22.95</c:v>
                </c:pt>
                <c:pt idx="18">
                  <c:v>45.5</c:v>
                </c:pt>
                <c:pt idx="19">
                  <c:v>101.71</c:v>
                </c:pt>
                <c:pt idx="20">
                  <c:v>96.37</c:v>
                </c:pt>
                <c:pt idx="21">
                  <c:v>144.0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D$2:$D$23</c:f>
              <c:numCache>
                <c:formatCode>General</c:formatCode>
                <c:ptCount val="22"/>
                <c:pt idx="0">
                  <c:v>1.28</c:v>
                </c:pt>
                <c:pt idx="1">
                  <c:v>1.78</c:v>
                </c:pt>
                <c:pt idx="2">
                  <c:v>3.46</c:v>
                </c:pt>
                <c:pt idx="3">
                  <c:v>3.85</c:v>
                </c:pt>
                <c:pt idx="4">
                  <c:v>3.95</c:v>
                </c:pt>
                <c:pt idx="5">
                  <c:v>4.05</c:v>
                </c:pt>
                <c:pt idx="6">
                  <c:v>4.84</c:v>
                </c:pt>
                <c:pt idx="7">
                  <c:v>8.89</c:v>
                </c:pt>
                <c:pt idx="8">
                  <c:v>9.8800000000000008</c:v>
                </c:pt>
                <c:pt idx="9">
                  <c:v>11.85</c:v>
                </c:pt>
                <c:pt idx="10">
                  <c:v>12.24</c:v>
                </c:pt>
                <c:pt idx="11">
                  <c:v>14.22</c:v>
                </c:pt>
                <c:pt idx="12">
                  <c:v>21.23</c:v>
                </c:pt>
                <c:pt idx="13">
                  <c:v>24.29</c:v>
                </c:pt>
                <c:pt idx="14">
                  <c:v>24.59</c:v>
                </c:pt>
                <c:pt idx="15">
                  <c:v>26.37</c:v>
                </c:pt>
                <c:pt idx="16">
                  <c:v>28.54</c:v>
                </c:pt>
                <c:pt idx="17">
                  <c:v>30.12</c:v>
                </c:pt>
                <c:pt idx="18">
                  <c:v>42.66</c:v>
                </c:pt>
                <c:pt idx="19">
                  <c:v>92.43</c:v>
                </c:pt>
                <c:pt idx="20">
                  <c:v>94.8</c:v>
                </c:pt>
                <c:pt idx="21">
                  <c:v>11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rPr lang="en-US"/>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rPr lang="en-US"/>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E$2:$E$23</c:f>
              <c:numCache>
                <c:formatCode>General</c:formatCode>
                <c:ptCount val="22"/>
                <c:pt idx="0">
                  <c:v>1.21</c:v>
                </c:pt>
                <c:pt idx="1">
                  <c:v>1.9649999999999999</c:v>
                </c:pt>
                <c:pt idx="2">
                  <c:v>3.96</c:v>
                </c:pt>
                <c:pt idx="3">
                  <c:v>3.9249999999999998</c:v>
                </c:pt>
                <c:pt idx="4">
                  <c:v>3.95</c:v>
                </c:pt>
                <c:pt idx="5">
                  <c:v>5.4749999999999996</c:v>
                </c:pt>
                <c:pt idx="6">
                  <c:v>6.21</c:v>
                </c:pt>
                <c:pt idx="7">
                  <c:v>8.58</c:v>
                </c:pt>
                <c:pt idx="8">
                  <c:v>10.4</c:v>
                </c:pt>
                <c:pt idx="9">
                  <c:v>15.32</c:v>
                </c:pt>
                <c:pt idx="10">
                  <c:v>13.675000000000001</c:v>
                </c:pt>
                <c:pt idx="11">
                  <c:v>15.414999999999999</c:v>
                </c:pt>
                <c:pt idx="12">
                  <c:v>30.115000000000002</c:v>
                </c:pt>
                <c:pt idx="13">
                  <c:v>31.49</c:v>
                </c:pt>
                <c:pt idx="14">
                  <c:v>29.575000000000003</c:v>
                </c:pt>
                <c:pt idx="15">
                  <c:v>24.365000000000002</c:v>
                </c:pt>
                <c:pt idx="16">
                  <c:v>32.064999999999998</c:v>
                </c:pt>
                <c:pt idx="17">
                  <c:v>26.535</c:v>
                </c:pt>
                <c:pt idx="18">
                  <c:v>44.08</c:v>
                </c:pt>
                <c:pt idx="19">
                  <c:v>97.07</c:v>
                </c:pt>
                <c:pt idx="20">
                  <c:v>95.585000000000008</c:v>
                </c:pt>
                <c:pt idx="21">
                  <c:v>131.2699999999999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scaling>
        <c:delete val="0"/>
        <c:axPos val="r"/>
        <c:numFmt formatCode="General"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B$2:$B$23</c:f>
              <c:numCache>
                <c:formatCode>General</c:formatCode>
                <c:ptCount val="22"/>
                <c:pt idx="0">
                  <c:v>13</c:v>
                </c:pt>
                <c:pt idx="1">
                  <c:v>1</c:v>
                </c:pt>
                <c:pt idx="2">
                  <c:v>5</c:v>
                </c:pt>
                <c:pt idx="3">
                  <c:v>14</c:v>
                </c:pt>
                <c:pt idx="4">
                  <c:v>123</c:v>
                </c:pt>
                <c:pt idx="5">
                  <c:v>0</c:v>
                </c:pt>
                <c:pt idx="6">
                  <c:v>0</c:v>
                </c:pt>
                <c:pt idx="7">
                  <c:v>0</c:v>
                </c:pt>
                <c:pt idx="8">
                  <c:v>13</c:v>
                </c:pt>
                <c:pt idx="9">
                  <c:v>0</c:v>
                </c:pt>
                <c:pt idx="10">
                  <c:v>0</c:v>
                </c:pt>
                <c:pt idx="11">
                  <c:v>0</c:v>
                </c:pt>
                <c:pt idx="12">
                  <c:v>0</c:v>
                </c:pt>
                <c:pt idx="13">
                  <c:v>0</c:v>
                </c:pt>
                <c:pt idx="14">
                  <c:v>0</c:v>
                </c:pt>
                <c:pt idx="15">
                  <c:v>1</c:v>
                </c:pt>
                <c:pt idx="16">
                  <c:v>0</c:v>
                </c:pt>
                <c:pt idx="17">
                  <c:v>8</c:v>
                </c:pt>
                <c:pt idx="18">
                  <c:v>0</c:v>
                </c:pt>
                <c:pt idx="19">
                  <c:v>0</c:v>
                </c:pt>
                <c:pt idx="20">
                  <c:v>6</c:v>
                </c:pt>
                <c:pt idx="21">
                  <c:v>0</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C$2:$C$23</c:f>
              <c:numCache>
                <c:formatCode>General</c:formatCode>
                <c:ptCount val="22"/>
                <c:pt idx="0">
                  <c:v>1.1399999999999999</c:v>
                </c:pt>
                <c:pt idx="1">
                  <c:v>2.15</c:v>
                </c:pt>
                <c:pt idx="2">
                  <c:v>4.46</c:v>
                </c:pt>
                <c:pt idx="3">
                  <c:v>4</c:v>
                </c:pt>
                <c:pt idx="4">
                  <c:v>3.95</c:v>
                </c:pt>
                <c:pt idx="5">
                  <c:v>6.9</c:v>
                </c:pt>
                <c:pt idx="6">
                  <c:v>7.58</c:v>
                </c:pt>
                <c:pt idx="7">
                  <c:v>8.27</c:v>
                </c:pt>
                <c:pt idx="8">
                  <c:v>10.92</c:v>
                </c:pt>
                <c:pt idx="9">
                  <c:v>18.79</c:v>
                </c:pt>
                <c:pt idx="10">
                  <c:v>15.11</c:v>
                </c:pt>
                <c:pt idx="11">
                  <c:v>16.61</c:v>
                </c:pt>
                <c:pt idx="12">
                  <c:v>39</c:v>
                </c:pt>
                <c:pt idx="13">
                  <c:v>38.69</c:v>
                </c:pt>
                <c:pt idx="14">
                  <c:v>34.56</c:v>
                </c:pt>
                <c:pt idx="15">
                  <c:v>22.36</c:v>
                </c:pt>
                <c:pt idx="16">
                  <c:v>35.590000000000003</c:v>
                </c:pt>
                <c:pt idx="17">
                  <c:v>22.95</c:v>
                </c:pt>
                <c:pt idx="18">
                  <c:v>45.5</c:v>
                </c:pt>
                <c:pt idx="19">
                  <c:v>101.71</c:v>
                </c:pt>
                <c:pt idx="20">
                  <c:v>96.37</c:v>
                </c:pt>
                <c:pt idx="21">
                  <c:v>144.0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D$2:$D$23</c:f>
              <c:numCache>
                <c:formatCode>General</c:formatCode>
                <c:ptCount val="22"/>
                <c:pt idx="0">
                  <c:v>1.28</c:v>
                </c:pt>
                <c:pt idx="1">
                  <c:v>1.78</c:v>
                </c:pt>
                <c:pt idx="2">
                  <c:v>3.46</c:v>
                </c:pt>
                <c:pt idx="3">
                  <c:v>3.85</c:v>
                </c:pt>
                <c:pt idx="4">
                  <c:v>3.95</c:v>
                </c:pt>
                <c:pt idx="5">
                  <c:v>4.05</c:v>
                </c:pt>
                <c:pt idx="6">
                  <c:v>4.84</c:v>
                </c:pt>
                <c:pt idx="7">
                  <c:v>8.89</c:v>
                </c:pt>
                <c:pt idx="8">
                  <c:v>9.8800000000000008</c:v>
                </c:pt>
                <c:pt idx="9">
                  <c:v>11.85</c:v>
                </c:pt>
                <c:pt idx="10">
                  <c:v>12.24</c:v>
                </c:pt>
                <c:pt idx="11">
                  <c:v>14.22</c:v>
                </c:pt>
                <c:pt idx="12">
                  <c:v>21.23</c:v>
                </c:pt>
                <c:pt idx="13">
                  <c:v>24.29</c:v>
                </c:pt>
                <c:pt idx="14">
                  <c:v>24.59</c:v>
                </c:pt>
                <c:pt idx="15">
                  <c:v>26.37</c:v>
                </c:pt>
                <c:pt idx="16">
                  <c:v>28.54</c:v>
                </c:pt>
                <c:pt idx="17">
                  <c:v>30.12</c:v>
                </c:pt>
                <c:pt idx="18">
                  <c:v>42.66</c:v>
                </c:pt>
                <c:pt idx="19">
                  <c:v>92.43</c:v>
                </c:pt>
                <c:pt idx="20">
                  <c:v>94.8</c:v>
                </c:pt>
                <c:pt idx="21">
                  <c:v>11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rPr lang="en-US"/>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rPr lang="en-US"/>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E$2:$E$23</c:f>
              <c:numCache>
                <c:formatCode>General</c:formatCode>
                <c:ptCount val="22"/>
                <c:pt idx="0">
                  <c:v>1.21</c:v>
                </c:pt>
                <c:pt idx="1">
                  <c:v>1.9649999999999999</c:v>
                </c:pt>
                <c:pt idx="2">
                  <c:v>3.96</c:v>
                </c:pt>
                <c:pt idx="3">
                  <c:v>3.9249999999999998</c:v>
                </c:pt>
                <c:pt idx="4">
                  <c:v>3.95</c:v>
                </c:pt>
                <c:pt idx="5">
                  <c:v>5.4749999999999996</c:v>
                </c:pt>
                <c:pt idx="6">
                  <c:v>6.21</c:v>
                </c:pt>
                <c:pt idx="7">
                  <c:v>8.58</c:v>
                </c:pt>
                <c:pt idx="8">
                  <c:v>10.4</c:v>
                </c:pt>
                <c:pt idx="9">
                  <c:v>15.32</c:v>
                </c:pt>
                <c:pt idx="10">
                  <c:v>13.675000000000001</c:v>
                </c:pt>
                <c:pt idx="11">
                  <c:v>15.414999999999999</c:v>
                </c:pt>
                <c:pt idx="12">
                  <c:v>30.115000000000002</c:v>
                </c:pt>
                <c:pt idx="13">
                  <c:v>31.49</c:v>
                </c:pt>
                <c:pt idx="14">
                  <c:v>29.575000000000003</c:v>
                </c:pt>
                <c:pt idx="15">
                  <c:v>24.365000000000002</c:v>
                </c:pt>
                <c:pt idx="16">
                  <c:v>32.064999999999998</c:v>
                </c:pt>
                <c:pt idx="17">
                  <c:v>26.535</c:v>
                </c:pt>
                <c:pt idx="18">
                  <c:v>44.08</c:v>
                </c:pt>
                <c:pt idx="19">
                  <c:v>97.07</c:v>
                </c:pt>
                <c:pt idx="20">
                  <c:v>95.585000000000008</c:v>
                </c:pt>
                <c:pt idx="21">
                  <c:v>131.2699999999999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scaling>
        <c:delete val="0"/>
        <c:axPos val="r"/>
        <c:numFmt formatCode="General"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B$2:$B$23</c:f>
              <c:numCache>
                <c:formatCode>General</c:formatCode>
                <c:ptCount val="22"/>
                <c:pt idx="0">
                  <c:v>13</c:v>
                </c:pt>
                <c:pt idx="1">
                  <c:v>1</c:v>
                </c:pt>
                <c:pt idx="2">
                  <c:v>5</c:v>
                </c:pt>
                <c:pt idx="3">
                  <c:v>14</c:v>
                </c:pt>
                <c:pt idx="4">
                  <c:v>123</c:v>
                </c:pt>
                <c:pt idx="5">
                  <c:v>0</c:v>
                </c:pt>
                <c:pt idx="6">
                  <c:v>0</c:v>
                </c:pt>
                <c:pt idx="7">
                  <c:v>0</c:v>
                </c:pt>
                <c:pt idx="8">
                  <c:v>13</c:v>
                </c:pt>
                <c:pt idx="9">
                  <c:v>0</c:v>
                </c:pt>
                <c:pt idx="10">
                  <c:v>0</c:v>
                </c:pt>
                <c:pt idx="11">
                  <c:v>0</c:v>
                </c:pt>
                <c:pt idx="12">
                  <c:v>0</c:v>
                </c:pt>
                <c:pt idx="13">
                  <c:v>0</c:v>
                </c:pt>
                <c:pt idx="14">
                  <c:v>0</c:v>
                </c:pt>
                <c:pt idx="15">
                  <c:v>1</c:v>
                </c:pt>
                <c:pt idx="16">
                  <c:v>0</c:v>
                </c:pt>
                <c:pt idx="17">
                  <c:v>8</c:v>
                </c:pt>
                <c:pt idx="18">
                  <c:v>0</c:v>
                </c:pt>
                <c:pt idx="19">
                  <c:v>0</c:v>
                </c:pt>
                <c:pt idx="20">
                  <c:v>6</c:v>
                </c:pt>
                <c:pt idx="21">
                  <c:v>0</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C$2:$C$23</c:f>
              <c:numCache>
                <c:formatCode>General</c:formatCode>
                <c:ptCount val="22"/>
                <c:pt idx="0">
                  <c:v>1.1399999999999999</c:v>
                </c:pt>
                <c:pt idx="1">
                  <c:v>2.15</c:v>
                </c:pt>
                <c:pt idx="2">
                  <c:v>4.46</c:v>
                </c:pt>
                <c:pt idx="3">
                  <c:v>4</c:v>
                </c:pt>
                <c:pt idx="4">
                  <c:v>3.95</c:v>
                </c:pt>
                <c:pt idx="5">
                  <c:v>6.9</c:v>
                </c:pt>
                <c:pt idx="6">
                  <c:v>7.58</c:v>
                </c:pt>
                <c:pt idx="7">
                  <c:v>8.27</c:v>
                </c:pt>
                <c:pt idx="8">
                  <c:v>10.92</c:v>
                </c:pt>
                <c:pt idx="9">
                  <c:v>18.79</c:v>
                </c:pt>
                <c:pt idx="10">
                  <c:v>15.11</c:v>
                </c:pt>
                <c:pt idx="11">
                  <c:v>16.61</c:v>
                </c:pt>
                <c:pt idx="12">
                  <c:v>39</c:v>
                </c:pt>
                <c:pt idx="13">
                  <c:v>38.69</c:v>
                </c:pt>
                <c:pt idx="14">
                  <c:v>34.56</c:v>
                </c:pt>
                <c:pt idx="15">
                  <c:v>22.36</c:v>
                </c:pt>
                <c:pt idx="16">
                  <c:v>35.590000000000003</c:v>
                </c:pt>
                <c:pt idx="17">
                  <c:v>22.95</c:v>
                </c:pt>
                <c:pt idx="18">
                  <c:v>45.5</c:v>
                </c:pt>
                <c:pt idx="19">
                  <c:v>101.71</c:v>
                </c:pt>
                <c:pt idx="20">
                  <c:v>96.37</c:v>
                </c:pt>
                <c:pt idx="21">
                  <c:v>144.0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D$2:$D$23</c:f>
              <c:numCache>
                <c:formatCode>General</c:formatCode>
                <c:ptCount val="22"/>
                <c:pt idx="0">
                  <c:v>1.28</c:v>
                </c:pt>
                <c:pt idx="1">
                  <c:v>1.78</c:v>
                </c:pt>
                <c:pt idx="2">
                  <c:v>3.46</c:v>
                </c:pt>
                <c:pt idx="3">
                  <c:v>3.85</c:v>
                </c:pt>
                <c:pt idx="4">
                  <c:v>3.95</c:v>
                </c:pt>
                <c:pt idx="5">
                  <c:v>4.05</c:v>
                </c:pt>
                <c:pt idx="6">
                  <c:v>4.84</c:v>
                </c:pt>
                <c:pt idx="7">
                  <c:v>8.89</c:v>
                </c:pt>
                <c:pt idx="8">
                  <c:v>9.8800000000000008</c:v>
                </c:pt>
                <c:pt idx="9">
                  <c:v>11.85</c:v>
                </c:pt>
                <c:pt idx="10">
                  <c:v>12.24</c:v>
                </c:pt>
                <c:pt idx="11">
                  <c:v>14.22</c:v>
                </c:pt>
                <c:pt idx="12">
                  <c:v>21.23</c:v>
                </c:pt>
                <c:pt idx="13">
                  <c:v>24.29</c:v>
                </c:pt>
                <c:pt idx="14">
                  <c:v>24.59</c:v>
                </c:pt>
                <c:pt idx="15">
                  <c:v>26.37</c:v>
                </c:pt>
                <c:pt idx="16">
                  <c:v>28.54</c:v>
                </c:pt>
                <c:pt idx="17">
                  <c:v>30.12</c:v>
                </c:pt>
                <c:pt idx="18">
                  <c:v>42.66</c:v>
                </c:pt>
                <c:pt idx="19">
                  <c:v>92.43</c:v>
                </c:pt>
                <c:pt idx="20">
                  <c:v>94.8</c:v>
                </c:pt>
                <c:pt idx="21">
                  <c:v>11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rPr lang="en-US"/>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rPr lang="en-US"/>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E$2:$E$23</c:f>
              <c:numCache>
                <c:formatCode>General</c:formatCode>
                <c:ptCount val="22"/>
                <c:pt idx="0">
                  <c:v>1.21</c:v>
                </c:pt>
                <c:pt idx="1">
                  <c:v>1.9649999999999999</c:v>
                </c:pt>
                <c:pt idx="2">
                  <c:v>3.96</c:v>
                </c:pt>
                <c:pt idx="3">
                  <c:v>3.9249999999999998</c:v>
                </c:pt>
                <c:pt idx="4">
                  <c:v>3.95</c:v>
                </c:pt>
                <c:pt idx="5">
                  <c:v>5.4749999999999996</c:v>
                </c:pt>
                <c:pt idx="6">
                  <c:v>6.21</c:v>
                </c:pt>
                <c:pt idx="7">
                  <c:v>8.58</c:v>
                </c:pt>
                <c:pt idx="8">
                  <c:v>10.4</c:v>
                </c:pt>
                <c:pt idx="9">
                  <c:v>15.32</c:v>
                </c:pt>
                <c:pt idx="10">
                  <c:v>13.675000000000001</c:v>
                </c:pt>
                <c:pt idx="11">
                  <c:v>15.414999999999999</c:v>
                </c:pt>
                <c:pt idx="12">
                  <c:v>30.115000000000002</c:v>
                </c:pt>
                <c:pt idx="13">
                  <c:v>31.49</c:v>
                </c:pt>
                <c:pt idx="14">
                  <c:v>29.575000000000003</c:v>
                </c:pt>
                <c:pt idx="15">
                  <c:v>24.365000000000002</c:v>
                </c:pt>
                <c:pt idx="16">
                  <c:v>32.064999999999998</c:v>
                </c:pt>
                <c:pt idx="17">
                  <c:v>26.535</c:v>
                </c:pt>
                <c:pt idx="18">
                  <c:v>44.08</c:v>
                </c:pt>
                <c:pt idx="19">
                  <c:v>97.07</c:v>
                </c:pt>
                <c:pt idx="20">
                  <c:v>95.585000000000008</c:v>
                </c:pt>
                <c:pt idx="21">
                  <c:v>131.2699999999999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scaling>
        <c:delete val="0"/>
        <c:axPos val="r"/>
        <c:numFmt formatCode="General"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B$2:$B$23</c:f>
              <c:numCache>
                <c:formatCode>General</c:formatCode>
                <c:ptCount val="22"/>
                <c:pt idx="0">
                  <c:v>13</c:v>
                </c:pt>
                <c:pt idx="1">
                  <c:v>1</c:v>
                </c:pt>
                <c:pt idx="2">
                  <c:v>5</c:v>
                </c:pt>
                <c:pt idx="3">
                  <c:v>14</c:v>
                </c:pt>
                <c:pt idx="4">
                  <c:v>123</c:v>
                </c:pt>
                <c:pt idx="5">
                  <c:v>0</c:v>
                </c:pt>
                <c:pt idx="6">
                  <c:v>0</c:v>
                </c:pt>
                <c:pt idx="7">
                  <c:v>0</c:v>
                </c:pt>
                <c:pt idx="8">
                  <c:v>13</c:v>
                </c:pt>
                <c:pt idx="9">
                  <c:v>0</c:v>
                </c:pt>
                <c:pt idx="10">
                  <c:v>0</c:v>
                </c:pt>
                <c:pt idx="11">
                  <c:v>0</c:v>
                </c:pt>
                <c:pt idx="12">
                  <c:v>0</c:v>
                </c:pt>
                <c:pt idx="13">
                  <c:v>0</c:v>
                </c:pt>
                <c:pt idx="14">
                  <c:v>0</c:v>
                </c:pt>
                <c:pt idx="15">
                  <c:v>1</c:v>
                </c:pt>
                <c:pt idx="16">
                  <c:v>0</c:v>
                </c:pt>
                <c:pt idx="17">
                  <c:v>8</c:v>
                </c:pt>
                <c:pt idx="18">
                  <c:v>0</c:v>
                </c:pt>
                <c:pt idx="19">
                  <c:v>0</c:v>
                </c:pt>
                <c:pt idx="20">
                  <c:v>6</c:v>
                </c:pt>
                <c:pt idx="21">
                  <c:v>0</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C$2:$C$23</c:f>
              <c:numCache>
                <c:formatCode>General</c:formatCode>
                <c:ptCount val="22"/>
                <c:pt idx="0">
                  <c:v>1.1399999999999999</c:v>
                </c:pt>
                <c:pt idx="1">
                  <c:v>2.15</c:v>
                </c:pt>
                <c:pt idx="2">
                  <c:v>4.46</c:v>
                </c:pt>
                <c:pt idx="3">
                  <c:v>4</c:v>
                </c:pt>
                <c:pt idx="4">
                  <c:v>3.95</c:v>
                </c:pt>
                <c:pt idx="5">
                  <c:v>6.9</c:v>
                </c:pt>
                <c:pt idx="6">
                  <c:v>7.58</c:v>
                </c:pt>
                <c:pt idx="7">
                  <c:v>8.27</c:v>
                </c:pt>
                <c:pt idx="8">
                  <c:v>10.92</c:v>
                </c:pt>
                <c:pt idx="9">
                  <c:v>18.79</c:v>
                </c:pt>
                <c:pt idx="10">
                  <c:v>15.11</c:v>
                </c:pt>
                <c:pt idx="11">
                  <c:v>16.61</c:v>
                </c:pt>
                <c:pt idx="12">
                  <c:v>39</c:v>
                </c:pt>
                <c:pt idx="13">
                  <c:v>38.69</c:v>
                </c:pt>
                <c:pt idx="14">
                  <c:v>34.56</c:v>
                </c:pt>
                <c:pt idx="15">
                  <c:v>22.36</c:v>
                </c:pt>
                <c:pt idx="16">
                  <c:v>35.590000000000003</c:v>
                </c:pt>
                <c:pt idx="17">
                  <c:v>22.95</c:v>
                </c:pt>
                <c:pt idx="18">
                  <c:v>45.5</c:v>
                </c:pt>
                <c:pt idx="19">
                  <c:v>101.71</c:v>
                </c:pt>
                <c:pt idx="20">
                  <c:v>96.37</c:v>
                </c:pt>
                <c:pt idx="21">
                  <c:v>144.0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D$2:$D$23</c:f>
              <c:numCache>
                <c:formatCode>General</c:formatCode>
                <c:ptCount val="22"/>
                <c:pt idx="0">
                  <c:v>1.28</c:v>
                </c:pt>
                <c:pt idx="1">
                  <c:v>1.78</c:v>
                </c:pt>
                <c:pt idx="2">
                  <c:v>3.46</c:v>
                </c:pt>
                <c:pt idx="3">
                  <c:v>3.85</c:v>
                </c:pt>
                <c:pt idx="4">
                  <c:v>3.95</c:v>
                </c:pt>
                <c:pt idx="5">
                  <c:v>4.05</c:v>
                </c:pt>
                <c:pt idx="6">
                  <c:v>4.84</c:v>
                </c:pt>
                <c:pt idx="7">
                  <c:v>8.89</c:v>
                </c:pt>
                <c:pt idx="8">
                  <c:v>9.8800000000000008</c:v>
                </c:pt>
                <c:pt idx="9">
                  <c:v>11.85</c:v>
                </c:pt>
                <c:pt idx="10">
                  <c:v>12.24</c:v>
                </c:pt>
                <c:pt idx="11">
                  <c:v>14.22</c:v>
                </c:pt>
                <c:pt idx="12">
                  <c:v>21.23</c:v>
                </c:pt>
                <c:pt idx="13">
                  <c:v>24.29</c:v>
                </c:pt>
                <c:pt idx="14">
                  <c:v>24.59</c:v>
                </c:pt>
                <c:pt idx="15">
                  <c:v>26.37</c:v>
                </c:pt>
                <c:pt idx="16">
                  <c:v>28.54</c:v>
                </c:pt>
                <c:pt idx="17">
                  <c:v>30.12</c:v>
                </c:pt>
                <c:pt idx="18">
                  <c:v>42.66</c:v>
                </c:pt>
                <c:pt idx="19">
                  <c:v>92.43</c:v>
                </c:pt>
                <c:pt idx="20">
                  <c:v>94.8</c:v>
                </c:pt>
                <c:pt idx="21">
                  <c:v>11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rPr lang="en-US"/>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rPr lang="en-US"/>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E$2:$E$23</c:f>
              <c:numCache>
                <c:formatCode>General</c:formatCode>
                <c:ptCount val="22"/>
                <c:pt idx="0">
                  <c:v>1.21</c:v>
                </c:pt>
                <c:pt idx="1">
                  <c:v>1.9649999999999999</c:v>
                </c:pt>
                <c:pt idx="2">
                  <c:v>3.96</c:v>
                </c:pt>
                <c:pt idx="3">
                  <c:v>3.9249999999999998</c:v>
                </c:pt>
                <c:pt idx="4">
                  <c:v>3.95</c:v>
                </c:pt>
                <c:pt idx="5">
                  <c:v>5.4749999999999996</c:v>
                </c:pt>
                <c:pt idx="6">
                  <c:v>6.21</c:v>
                </c:pt>
                <c:pt idx="7">
                  <c:v>8.58</c:v>
                </c:pt>
                <c:pt idx="8">
                  <c:v>10.4</c:v>
                </c:pt>
                <c:pt idx="9">
                  <c:v>15.32</c:v>
                </c:pt>
                <c:pt idx="10">
                  <c:v>13.675000000000001</c:v>
                </c:pt>
                <c:pt idx="11">
                  <c:v>15.414999999999999</c:v>
                </c:pt>
                <c:pt idx="12">
                  <c:v>30.115000000000002</c:v>
                </c:pt>
                <c:pt idx="13">
                  <c:v>31.49</c:v>
                </c:pt>
                <c:pt idx="14">
                  <c:v>29.575000000000003</c:v>
                </c:pt>
                <c:pt idx="15">
                  <c:v>24.365000000000002</c:v>
                </c:pt>
                <c:pt idx="16">
                  <c:v>32.064999999999998</c:v>
                </c:pt>
                <c:pt idx="17">
                  <c:v>26.535</c:v>
                </c:pt>
                <c:pt idx="18">
                  <c:v>44.08</c:v>
                </c:pt>
                <c:pt idx="19">
                  <c:v>97.07</c:v>
                </c:pt>
                <c:pt idx="20">
                  <c:v>95.585000000000008</c:v>
                </c:pt>
                <c:pt idx="21">
                  <c:v>131.2699999999999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scaling>
        <c:delete val="0"/>
        <c:axPos val="r"/>
        <c:numFmt formatCode="General"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B$2:$B$23</c:f>
              <c:numCache>
                <c:formatCode>General</c:formatCode>
                <c:ptCount val="22"/>
                <c:pt idx="0">
                  <c:v>13</c:v>
                </c:pt>
                <c:pt idx="1">
                  <c:v>1</c:v>
                </c:pt>
                <c:pt idx="2">
                  <c:v>5</c:v>
                </c:pt>
                <c:pt idx="3">
                  <c:v>14</c:v>
                </c:pt>
                <c:pt idx="4">
                  <c:v>123</c:v>
                </c:pt>
                <c:pt idx="5">
                  <c:v>0</c:v>
                </c:pt>
                <c:pt idx="6">
                  <c:v>0</c:v>
                </c:pt>
                <c:pt idx="7">
                  <c:v>0</c:v>
                </c:pt>
                <c:pt idx="8">
                  <c:v>13</c:v>
                </c:pt>
                <c:pt idx="9">
                  <c:v>0</c:v>
                </c:pt>
                <c:pt idx="10">
                  <c:v>0</c:v>
                </c:pt>
                <c:pt idx="11">
                  <c:v>0</c:v>
                </c:pt>
                <c:pt idx="12">
                  <c:v>0</c:v>
                </c:pt>
                <c:pt idx="13">
                  <c:v>0</c:v>
                </c:pt>
                <c:pt idx="14">
                  <c:v>0</c:v>
                </c:pt>
                <c:pt idx="15">
                  <c:v>1</c:v>
                </c:pt>
                <c:pt idx="16">
                  <c:v>0</c:v>
                </c:pt>
                <c:pt idx="17">
                  <c:v>8</c:v>
                </c:pt>
                <c:pt idx="18">
                  <c:v>0</c:v>
                </c:pt>
                <c:pt idx="19">
                  <c:v>0</c:v>
                </c:pt>
                <c:pt idx="20">
                  <c:v>6</c:v>
                </c:pt>
                <c:pt idx="21">
                  <c:v>0</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C$2:$C$23</c:f>
              <c:numCache>
                <c:formatCode>General</c:formatCode>
                <c:ptCount val="22"/>
                <c:pt idx="0">
                  <c:v>1.1399999999999999</c:v>
                </c:pt>
                <c:pt idx="1">
                  <c:v>2.15</c:v>
                </c:pt>
                <c:pt idx="2">
                  <c:v>4.46</c:v>
                </c:pt>
                <c:pt idx="3">
                  <c:v>4</c:v>
                </c:pt>
                <c:pt idx="4">
                  <c:v>3.95</c:v>
                </c:pt>
                <c:pt idx="5">
                  <c:v>6.9</c:v>
                </c:pt>
                <c:pt idx="6">
                  <c:v>7.58</c:v>
                </c:pt>
                <c:pt idx="7">
                  <c:v>8.27</c:v>
                </c:pt>
                <c:pt idx="8">
                  <c:v>10.92</c:v>
                </c:pt>
                <c:pt idx="9">
                  <c:v>18.79</c:v>
                </c:pt>
                <c:pt idx="10">
                  <c:v>15.11</c:v>
                </c:pt>
                <c:pt idx="11">
                  <c:v>16.61</c:v>
                </c:pt>
                <c:pt idx="12">
                  <c:v>39</c:v>
                </c:pt>
                <c:pt idx="13">
                  <c:v>38.69</c:v>
                </c:pt>
                <c:pt idx="14">
                  <c:v>34.56</c:v>
                </c:pt>
                <c:pt idx="15">
                  <c:v>22.36</c:v>
                </c:pt>
                <c:pt idx="16">
                  <c:v>35.590000000000003</c:v>
                </c:pt>
                <c:pt idx="17">
                  <c:v>22.95</c:v>
                </c:pt>
                <c:pt idx="18">
                  <c:v>45.5</c:v>
                </c:pt>
                <c:pt idx="19">
                  <c:v>101.71</c:v>
                </c:pt>
                <c:pt idx="20">
                  <c:v>96.37</c:v>
                </c:pt>
                <c:pt idx="21">
                  <c:v>144.0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D$2:$D$23</c:f>
              <c:numCache>
                <c:formatCode>General</c:formatCode>
                <c:ptCount val="22"/>
                <c:pt idx="0">
                  <c:v>1.28</c:v>
                </c:pt>
                <c:pt idx="1">
                  <c:v>1.78</c:v>
                </c:pt>
                <c:pt idx="2">
                  <c:v>3.46</c:v>
                </c:pt>
                <c:pt idx="3">
                  <c:v>3.85</c:v>
                </c:pt>
                <c:pt idx="4">
                  <c:v>3.95</c:v>
                </c:pt>
                <c:pt idx="5">
                  <c:v>4.05</c:v>
                </c:pt>
                <c:pt idx="6">
                  <c:v>4.84</c:v>
                </c:pt>
                <c:pt idx="7">
                  <c:v>8.89</c:v>
                </c:pt>
                <c:pt idx="8">
                  <c:v>9.8800000000000008</c:v>
                </c:pt>
                <c:pt idx="9">
                  <c:v>11.85</c:v>
                </c:pt>
                <c:pt idx="10">
                  <c:v>12.24</c:v>
                </c:pt>
                <c:pt idx="11">
                  <c:v>14.22</c:v>
                </c:pt>
                <c:pt idx="12">
                  <c:v>21.23</c:v>
                </c:pt>
                <c:pt idx="13">
                  <c:v>24.29</c:v>
                </c:pt>
                <c:pt idx="14">
                  <c:v>24.59</c:v>
                </c:pt>
                <c:pt idx="15">
                  <c:v>26.37</c:v>
                </c:pt>
                <c:pt idx="16">
                  <c:v>28.54</c:v>
                </c:pt>
                <c:pt idx="17">
                  <c:v>30.12</c:v>
                </c:pt>
                <c:pt idx="18">
                  <c:v>42.66</c:v>
                </c:pt>
                <c:pt idx="19">
                  <c:v>92.43</c:v>
                </c:pt>
                <c:pt idx="20">
                  <c:v>94.8</c:v>
                </c:pt>
                <c:pt idx="21">
                  <c:v>11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rPr lang="en-US"/>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rPr lang="en-US"/>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E$2:$E$23</c:f>
              <c:numCache>
                <c:formatCode>General</c:formatCode>
                <c:ptCount val="22"/>
                <c:pt idx="0">
                  <c:v>1.21</c:v>
                </c:pt>
                <c:pt idx="1">
                  <c:v>1.9649999999999999</c:v>
                </c:pt>
                <c:pt idx="2">
                  <c:v>3.96</c:v>
                </c:pt>
                <c:pt idx="3">
                  <c:v>3.9249999999999998</c:v>
                </c:pt>
                <c:pt idx="4">
                  <c:v>3.95</c:v>
                </c:pt>
                <c:pt idx="5">
                  <c:v>5.4749999999999996</c:v>
                </c:pt>
                <c:pt idx="6">
                  <c:v>6.21</c:v>
                </c:pt>
                <c:pt idx="7">
                  <c:v>8.58</c:v>
                </c:pt>
                <c:pt idx="8">
                  <c:v>10.4</c:v>
                </c:pt>
                <c:pt idx="9">
                  <c:v>15.32</c:v>
                </c:pt>
                <c:pt idx="10">
                  <c:v>13.675000000000001</c:v>
                </c:pt>
                <c:pt idx="11">
                  <c:v>15.414999999999999</c:v>
                </c:pt>
                <c:pt idx="12">
                  <c:v>30.115000000000002</c:v>
                </c:pt>
                <c:pt idx="13">
                  <c:v>31.49</c:v>
                </c:pt>
                <c:pt idx="14">
                  <c:v>29.575000000000003</c:v>
                </c:pt>
                <c:pt idx="15">
                  <c:v>24.365000000000002</c:v>
                </c:pt>
                <c:pt idx="16">
                  <c:v>32.064999999999998</c:v>
                </c:pt>
                <c:pt idx="17">
                  <c:v>26.535</c:v>
                </c:pt>
                <c:pt idx="18">
                  <c:v>44.08</c:v>
                </c:pt>
                <c:pt idx="19">
                  <c:v>97.07</c:v>
                </c:pt>
                <c:pt idx="20">
                  <c:v>95.585000000000008</c:v>
                </c:pt>
                <c:pt idx="21">
                  <c:v>131.2699999999999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scaling>
        <c:delete val="0"/>
        <c:axPos val="r"/>
        <c:numFmt formatCode="General"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B$2:$B$23</c:f>
              <c:numCache>
                <c:formatCode>General</c:formatCode>
                <c:ptCount val="22"/>
                <c:pt idx="0">
                  <c:v>13</c:v>
                </c:pt>
                <c:pt idx="1">
                  <c:v>1</c:v>
                </c:pt>
                <c:pt idx="2">
                  <c:v>5</c:v>
                </c:pt>
                <c:pt idx="3">
                  <c:v>14</c:v>
                </c:pt>
                <c:pt idx="4">
                  <c:v>123</c:v>
                </c:pt>
                <c:pt idx="5">
                  <c:v>0</c:v>
                </c:pt>
                <c:pt idx="6">
                  <c:v>0</c:v>
                </c:pt>
                <c:pt idx="7">
                  <c:v>0</c:v>
                </c:pt>
                <c:pt idx="8">
                  <c:v>13</c:v>
                </c:pt>
                <c:pt idx="9">
                  <c:v>0</c:v>
                </c:pt>
                <c:pt idx="10">
                  <c:v>0</c:v>
                </c:pt>
                <c:pt idx="11">
                  <c:v>0</c:v>
                </c:pt>
                <c:pt idx="12">
                  <c:v>0</c:v>
                </c:pt>
                <c:pt idx="13">
                  <c:v>0</c:v>
                </c:pt>
                <c:pt idx="14">
                  <c:v>0</c:v>
                </c:pt>
                <c:pt idx="15">
                  <c:v>1</c:v>
                </c:pt>
                <c:pt idx="16">
                  <c:v>0</c:v>
                </c:pt>
                <c:pt idx="17">
                  <c:v>8</c:v>
                </c:pt>
                <c:pt idx="18">
                  <c:v>0</c:v>
                </c:pt>
                <c:pt idx="19">
                  <c:v>0</c:v>
                </c:pt>
                <c:pt idx="20">
                  <c:v>6</c:v>
                </c:pt>
                <c:pt idx="21">
                  <c:v>0</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C$2:$C$23</c:f>
              <c:numCache>
                <c:formatCode>General</c:formatCode>
                <c:ptCount val="22"/>
                <c:pt idx="0">
                  <c:v>1.1399999999999999</c:v>
                </c:pt>
                <c:pt idx="1">
                  <c:v>2.15</c:v>
                </c:pt>
                <c:pt idx="2">
                  <c:v>4.46</c:v>
                </c:pt>
                <c:pt idx="3">
                  <c:v>4</c:v>
                </c:pt>
                <c:pt idx="4">
                  <c:v>3.95</c:v>
                </c:pt>
                <c:pt idx="5">
                  <c:v>6.9</c:v>
                </c:pt>
                <c:pt idx="6">
                  <c:v>7.58</c:v>
                </c:pt>
                <c:pt idx="7">
                  <c:v>8.27</c:v>
                </c:pt>
                <c:pt idx="8">
                  <c:v>10.92</c:v>
                </c:pt>
                <c:pt idx="9">
                  <c:v>18.79</c:v>
                </c:pt>
                <c:pt idx="10">
                  <c:v>15.11</c:v>
                </c:pt>
                <c:pt idx="11">
                  <c:v>16.61</c:v>
                </c:pt>
                <c:pt idx="12">
                  <c:v>39</c:v>
                </c:pt>
                <c:pt idx="13">
                  <c:v>38.69</c:v>
                </c:pt>
                <c:pt idx="14">
                  <c:v>34.56</c:v>
                </c:pt>
                <c:pt idx="15">
                  <c:v>22.36</c:v>
                </c:pt>
                <c:pt idx="16">
                  <c:v>35.590000000000003</c:v>
                </c:pt>
                <c:pt idx="17">
                  <c:v>22.95</c:v>
                </c:pt>
                <c:pt idx="18">
                  <c:v>45.5</c:v>
                </c:pt>
                <c:pt idx="19">
                  <c:v>101.71</c:v>
                </c:pt>
                <c:pt idx="20">
                  <c:v>96.37</c:v>
                </c:pt>
                <c:pt idx="21">
                  <c:v>144.0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D$2:$D$23</c:f>
              <c:numCache>
                <c:formatCode>General</c:formatCode>
                <c:ptCount val="22"/>
                <c:pt idx="0">
                  <c:v>1.28</c:v>
                </c:pt>
                <c:pt idx="1">
                  <c:v>1.78</c:v>
                </c:pt>
                <c:pt idx="2">
                  <c:v>3.46</c:v>
                </c:pt>
                <c:pt idx="3">
                  <c:v>3.85</c:v>
                </c:pt>
                <c:pt idx="4">
                  <c:v>3.95</c:v>
                </c:pt>
                <c:pt idx="5">
                  <c:v>4.05</c:v>
                </c:pt>
                <c:pt idx="6">
                  <c:v>4.84</c:v>
                </c:pt>
                <c:pt idx="7">
                  <c:v>8.89</c:v>
                </c:pt>
                <c:pt idx="8">
                  <c:v>9.8800000000000008</c:v>
                </c:pt>
                <c:pt idx="9">
                  <c:v>11.85</c:v>
                </c:pt>
                <c:pt idx="10">
                  <c:v>12.24</c:v>
                </c:pt>
                <c:pt idx="11">
                  <c:v>14.22</c:v>
                </c:pt>
                <c:pt idx="12">
                  <c:v>21.23</c:v>
                </c:pt>
                <c:pt idx="13">
                  <c:v>24.29</c:v>
                </c:pt>
                <c:pt idx="14">
                  <c:v>24.59</c:v>
                </c:pt>
                <c:pt idx="15">
                  <c:v>26.37</c:v>
                </c:pt>
                <c:pt idx="16">
                  <c:v>28.54</c:v>
                </c:pt>
                <c:pt idx="17">
                  <c:v>30.12</c:v>
                </c:pt>
                <c:pt idx="18">
                  <c:v>42.66</c:v>
                </c:pt>
                <c:pt idx="19">
                  <c:v>92.43</c:v>
                </c:pt>
                <c:pt idx="20">
                  <c:v>94.8</c:v>
                </c:pt>
                <c:pt idx="21">
                  <c:v>11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rPr lang="en-US"/>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rPr lang="en-US"/>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E$2:$E$23</c:f>
              <c:numCache>
                <c:formatCode>General</c:formatCode>
                <c:ptCount val="22"/>
                <c:pt idx="0">
                  <c:v>1.21</c:v>
                </c:pt>
                <c:pt idx="1">
                  <c:v>1.9649999999999999</c:v>
                </c:pt>
                <c:pt idx="2">
                  <c:v>3.96</c:v>
                </c:pt>
                <c:pt idx="3">
                  <c:v>3.9249999999999998</c:v>
                </c:pt>
                <c:pt idx="4">
                  <c:v>3.95</c:v>
                </c:pt>
                <c:pt idx="5">
                  <c:v>5.4749999999999996</c:v>
                </c:pt>
                <c:pt idx="6">
                  <c:v>6.21</c:v>
                </c:pt>
                <c:pt idx="7">
                  <c:v>8.58</c:v>
                </c:pt>
                <c:pt idx="8">
                  <c:v>10.4</c:v>
                </c:pt>
                <c:pt idx="9">
                  <c:v>15.32</c:v>
                </c:pt>
                <c:pt idx="10">
                  <c:v>13.675000000000001</c:v>
                </c:pt>
                <c:pt idx="11">
                  <c:v>15.414999999999999</c:v>
                </c:pt>
                <c:pt idx="12">
                  <c:v>30.115000000000002</c:v>
                </c:pt>
                <c:pt idx="13">
                  <c:v>31.49</c:v>
                </c:pt>
                <c:pt idx="14">
                  <c:v>29.575000000000003</c:v>
                </c:pt>
                <c:pt idx="15">
                  <c:v>24.365000000000002</c:v>
                </c:pt>
                <c:pt idx="16">
                  <c:v>32.064999999999998</c:v>
                </c:pt>
                <c:pt idx="17">
                  <c:v>26.535</c:v>
                </c:pt>
                <c:pt idx="18">
                  <c:v>44.08</c:v>
                </c:pt>
                <c:pt idx="19">
                  <c:v>97.07</c:v>
                </c:pt>
                <c:pt idx="20">
                  <c:v>95.585000000000008</c:v>
                </c:pt>
                <c:pt idx="21">
                  <c:v>131.2699999999999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scaling>
        <c:delete val="0"/>
        <c:axPos val="r"/>
        <c:numFmt formatCode="General"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B$2:$B$23</c:f>
              <c:numCache>
                <c:formatCode>General</c:formatCode>
                <c:ptCount val="22"/>
                <c:pt idx="0">
                  <c:v>13</c:v>
                </c:pt>
                <c:pt idx="1">
                  <c:v>1</c:v>
                </c:pt>
                <c:pt idx="2">
                  <c:v>5</c:v>
                </c:pt>
                <c:pt idx="3">
                  <c:v>14</c:v>
                </c:pt>
                <c:pt idx="4">
                  <c:v>123</c:v>
                </c:pt>
                <c:pt idx="5">
                  <c:v>0</c:v>
                </c:pt>
                <c:pt idx="6">
                  <c:v>0</c:v>
                </c:pt>
                <c:pt idx="7">
                  <c:v>0</c:v>
                </c:pt>
                <c:pt idx="8">
                  <c:v>13</c:v>
                </c:pt>
                <c:pt idx="9">
                  <c:v>0</c:v>
                </c:pt>
                <c:pt idx="10">
                  <c:v>0</c:v>
                </c:pt>
                <c:pt idx="11">
                  <c:v>0</c:v>
                </c:pt>
                <c:pt idx="12">
                  <c:v>0</c:v>
                </c:pt>
                <c:pt idx="13">
                  <c:v>0</c:v>
                </c:pt>
                <c:pt idx="14">
                  <c:v>0</c:v>
                </c:pt>
                <c:pt idx="15">
                  <c:v>1</c:v>
                </c:pt>
                <c:pt idx="16">
                  <c:v>0</c:v>
                </c:pt>
                <c:pt idx="17">
                  <c:v>8</c:v>
                </c:pt>
                <c:pt idx="18">
                  <c:v>0</c:v>
                </c:pt>
                <c:pt idx="19">
                  <c:v>0</c:v>
                </c:pt>
                <c:pt idx="20">
                  <c:v>6</c:v>
                </c:pt>
                <c:pt idx="21">
                  <c:v>0</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C$2:$C$23</c:f>
              <c:numCache>
                <c:formatCode>General</c:formatCode>
                <c:ptCount val="22"/>
                <c:pt idx="0">
                  <c:v>1.1399999999999999</c:v>
                </c:pt>
                <c:pt idx="1">
                  <c:v>2.15</c:v>
                </c:pt>
                <c:pt idx="2">
                  <c:v>4.46</c:v>
                </c:pt>
                <c:pt idx="3">
                  <c:v>4</c:v>
                </c:pt>
                <c:pt idx="4">
                  <c:v>3.95</c:v>
                </c:pt>
                <c:pt idx="5">
                  <c:v>6.9</c:v>
                </c:pt>
                <c:pt idx="6">
                  <c:v>7.58</c:v>
                </c:pt>
                <c:pt idx="7">
                  <c:v>8.27</c:v>
                </c:pt>
                <c:pt idx="8">
                  <c:v>10.92</c:v>
                </c:pt>
                <c:pt idx="9">
                  <c:v>18.79</c:v>
                </c:pt>
                <c:pt idx="10">
                  <c:v>15.11</c:v>
                </c:pt>
                <c:pt idx="11">
                  <c:v>16.61</c:v>
                </c:pt>
                <c:pt idx="12">
                  <c:v>39</c:v>
                </c:pt>
                <c:pt idx="13">
                  <c:v>38.69</c:v>
                </c:pt>
                <c:pt idx="14">
                  <c:v>34.56</c:v>
                </c:pt>
                <c:pt idx="15">
                  <c:v>22.36</c:v>
                </c:pt>
                <c:pt idx="16">
                  <c:v>35.590000000000003</c:v>
                </c:pt>
                <c:pt idx="17">
                  <c:v>22.95</c:v>
                </c:pt>
                <c:pt idx="18">
                  <c:v>45.5</c:v>
                </c:pt>
                <c:pt idx="19">
                  <c:v>101.71</c:v>
                </c:pt>
                <c:pt idx="20">
                  <c:v>96.37</c:v>
                </c:pt>
                <c:pt idx="21">
                  <c:v>144.0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D$2:$D$23</c:f>
              <c:numCache>
                <c:formatCode>General</c:formatCode>
                <c:ptCount val="22"/>
                <c:pt idx="0">
                  <c:v>1.28</c:v>
                </c:pt>
                <c:pt idx="1">
                  <c:v>1.78</c:v>
                </c:pt>
                <c:pt idx="2">
                  <c:v>3.46</c:v>
                </c:pt>
                <c:pt idx="3">
                  <c:v>3.85</c:v>
                </c:pt>
                <c:pt idx="4">
                  <c:v>3.95</c:v>
                </c:pt>
                <c:pt idx="5">
                  <c:v>4.05</c:v>
                </c:pt>
                <c:pt idx="6">
                  <c:v>4.84</c:v>
                </c:pt>
                <c:pt idx="7">
                  <c:v>8.89</c:v>
                </c:pt>
                <c:pt idx="8">
                  <c:v>9.8800000000000008</c:v>
                </c:pt>
                <c:pt idx="9">
                  <c:v>11.85</c:v>
                </c:pt>
                <c:pt idx="10">
                  <c:v>12.24</c:v>
                </c:pt>
                <c:pt idx="11">
                  <c:v>14.22</c:v>
                </c:pt>
                <c:pt idx="12">
                  <c:v>21.23</c:v>
                </c:pt>
                <c:pt idx="13">
                  <c:v>24.29</c:v>
                </c:pt>
                <c:pt idx="14">
                  <c:v>24.59</c:v>
                </c:pt>
                <c:pt idx="15">
                  <c:v>26.37</c:v>
                </c:pt>
                <c:pt idx="16">
                  <c:v>28.54</c:v>
                </c:pt>
                <c:pt idx="17">
                  <c:v>30.12</c:v>
                </c:pt>
                <c:pt idx="18">
                  <c:v>42.66</c:v>
                </c:pt>
                <c:pt idx="19">
                  <c:v>92.43</c:v>
                </c:pt>
                <c:pt idx="20">
                  <c:v>94.8</c:v>
                </c:pt>
                <c:pt idx="21">
                  <c:v>11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rPr lang="en-US"/>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rPr lang="en-US"/>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E$2:$E$23</c:f>
              <c:numCache>
                <c:formatCode>General</c:formatCode>
                <c:ptCount val="22"/>
                <c:pt idx="0">
                  <c:v>1.21</c:v>
                </c:pt>
                <c:pt idx="1">
                  <c:v>1.9649999999999999</c:v>
                </c:pt>
                <c:pt idx="2">
                  <c:v>3.96</c:v>
                </c:pt>
                <c:pt idx="3">
                  <c:v>3.9249999999999998</c:v>
                </c:pt>
                <c:pt idx="4">
                  <c:v>3.95</c:v>
                </c:pt>
                <c:pt idx="5">
                  <c:v>5.4749999999999996</c:v>
                </c:pt>
                <c:pt idx="6">
                  <c:v>6.21</c:v>
                </c:pt>
                <c:pt idx="7">
                  <c:v>8.58</c:v>
                </c:pt>
                <c:pt idx="8">
                  <c:v>10.4</c:v>
                </c:pt>
                <c:pt idx="9">
                  <c:v>15.32</c:v>
                </c:pt>
                <c:pt idx="10">
                  <c:v>13.675000000000001</c:v>
                </c:pt>
                <c:pt idx="11">
                  <c:v>15.414999999999999</c:v>
                </c:pt>
                <c:pt idx="12">
                  <c:v>30.115000000000002</c:v>
                </c:pt>
                <c:pt idx="13">
                  <c:v>31.49</c:v>
                </c:pt>
                <c:pt idx="14">
                  <c:v>29.575000000000003</c:v>
                </c:pt>
                <c:pt idx="15">
                  <c:v>24.365000000000002</c:v>
                </c:pt>
                <c:pt idx="16">
                  <c:v>32.064999999999998</c:v>
                </c:pt>
                <c:pt idx="17">
                  <c:v>26.535</c:v>
                </c:pt>
                <c:pt idx="18">
                  <c:v>44.08</c:v>
                </c:pt>
                <c:pt idx="19">
                  <c:v>97.07</c:v>
                </c:pt>
                <c:pt idx="20">
                  <c:v>95.585000000000008</c:v>
                </c:pt>
                <c:pt idx="21">
                  <c:v>131.2699999999999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scaling>
        <c:delete val="0"/>
        <c:axPos val="r"/>
        <c:numFmt formatCode="General"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B$2:$B$23</c:f>
              <c:numCache>
                <c:formatCode>General</c:formatCode>
                <c:ptCount val="22"/>
                <c:pt idx="0">
                  <c:v>13</c:v>
                </c:pt>
                <c:pt idx="1">
                  <c:v>1</c:v>
                </c:pt>
                <c:pt idx="2">
                  <c:v>5</c:v>
                </c:pt>
                <c:pt idx="3">
                  <c:v>14</c:v>
                </c:pt>
                <c:pt idx="4">
                  <c:v>123</c:v>
                </c:pt>
                <c:pt idx="5">
                  <c:v>0</c:v>
                </c:pt>
                <c:pt idx="6">
                  <c:v>0</c:v>
                </c:pt>
                <c:pt idx="7">
                  <c:v>0</c:v>
                </c:pt>
                <c:pt idx="8">
                  <c:v>13</c:v>
                </c:pt>
                <c:pt idx="9">
                  <c:v>0</c:v>
                </c:pt>
                <c:pt idx="10">
                  <c:v>0</c:v>
                </c:pt>
                <c:pt idx="11">
                  <c:v>0</c:v>
                </c:pt>
                <c:pt idx="12">
                  <c:v>0</c:v>
                </c:pt>
                <c:pt idx="13">
                  <c:v>0</c:v>
                </c:pt>
                <c:pt idx="14">
                  <c:v>0</c:v>
                </c:pt>
                <c:pt idx="15">
                  <c:v>1</c:v>
                </c:pt>
                <c:pt idx="16">
                  <c:v>0</c:v>
                </c:pt>
                <c:pt idx="17">
                  <c:v>8</c:v>
                </c:pt>
                <c:pt idx="18">
                  <c:v>0</c:v>
                </c:pt>
                <c:pt idx="19">
                  <c:v>0</c:v>
                </c:pt>
                <c:pt idx="20">
                  <c:v>6</c:v>
                </c:pt>
                <c:pt idx="21">
                  <c:v>0</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C$2:$C$23</c:f>
              <c:numCache>
                <c:formatCode>General</c:formatCode>
                <c:ptCount val="22"/>
                <c:pt idx="0">
                  <c:v>1.1399999999999999</c:v>
                </c:pt>
                <c:pt idx="1">
                  <c:v>2.15</c:v>
                </c:pt>
                <c:pt idx="2">
                  <c:v>4.46</c:v>
                </c:pt>
                <c:pt idx="3">
                  <c:v>4</c:v>
                </c:pt>
                <c:pt idx="4">
                  <c:v>3.95</c:v>
                </c:pt>
                <c:pt idx="5">
                  <c:v>6.9</c:v>
                </c:pt>
                <c:pt idx="6">
                  <c:v>7.58</c:v>
                </c:pt>
                <c:pt idx="7">
                  <c:v>8.27</c:v>
                </c:pt>
                <c:pt idx="8">
                  <c:v>10.92</c:v>
                </c:pt>
                <c:pt idx="9">
                  <c:v>18.79</c:v>
                </c:pt>
                <c:pt idx="10">
                  <c:v>15.11</c:v>
                </c:pt>
                <c:pt idx="11">
                  <c:v>16.61</c:v>
                </c:pt>
                <c:pt idx="12">
                  <c:v>39</c:v>
                </c:pt>
                <c:pt idx="13">
                  <c:v>38.69</c:v>
                </c:pt>
                <c:pt idx="14">
                  <c:v>34.56</c:v>
                </c:pt>
                <c:pt idx="15">
                  <c:v>22.36</c:v>
                </c:pt>
                <c:pt idx="16">
                  <c:v>35.590000000000003</c:v>
                </c:pt>
                <c:pt idx="17">
                  <c:v>22.95</c:v>
                </c:pt>
                <c:pt idx="18">
                  <c:v>45.5</c:v>
                </c:pt>
                <c:pt idx="19">
                  <c:v>101.71</c:v>
                </c:pt>
                <c:pt idx="20">
                  <c:v>96.37</c:v>
                </c:pt>
                <c:pt idx="21">
                  <c:v>144.0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D$2:$D$23</c:f>
              <c:numCache>
                <c:formatCode>General</c:formatCode>
                <c:ptCount val="22"/>
                <c:pt idx="0">
                  <c:v>1.28</c:v>
                </c:pt>
                <c:pt idx="1">
                  <c:v>1.78</c:v>
                </c:pt>
                <c:pt idx="2">
                  <c:v>3.46</c:v>
                </c:pt>
                <c:pt idx="3">
                  <c:v>3.85</c:v>
                </c:pt>
                <c:pt idx="4">
                  <c:v>3.95</c:v>
                </c:pt>
                <c:pt idx="5">
                  <c:v>4.05</c:v>
                </c:pt>
                <c:pt idx="6">
                  <c:v>4.84</c:v>
                </c:pt>
                <c:pt idx="7">
                  <c:v>8.89</c:v>
                </c:pt>
                <c:pt idx="8">
                  <c:v>9.8800000000000008</c:v>
                </c:pt>
                <c:pt idx="9">
                  <c:v>11.85</c:v>
                </c:pt>
                <c:pt idx="10">
                  <c:v>12.24</c:v>
                </c:pt>
                <c:pt idx="11">
                  <c:v>14.22</c:v>
                </c:pt>
                <c:pt idx="12">
                  <c:v>21.23</c:v>
                </c:pt>
                <c:pt idx="13">
                  <c:v>24.29</c:v>
                </c:pt>
                <c:pt idx="14">
                  <c:v>24.59</c:v>
                </c:pt>
                <c:pt idx="15">
                  <c:v>26.37</c:v>
                </c:pt>
                <c:pt idx="16">
                  <c:v>28.54</c:v>
                </c:pt>
                <c:pt idx="17">
                  <c:v>30.12</c:v>
                </c:pt>
                <c:pt idx="18">
                  <c:v>42.66</c:v>
                </c:pt>
                <c:pt idx="19">
                  <c:v>92.43</c:v>
                </c:pt>
                <c:pt idx="20">
                  <c:v>94.8</c:v>
                </c:pt>
                <c:pt idx="21">
                  <c:v>11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rPr lang="en-US"/>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rPr lang="en-US"/>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E$2:$E$23</c:f>
              <c:numCache>
                <c:formatCode>General</c:formatCode>
                <c:ptCount val="22"/>
                <c:pt idx="0">
                  <c:v>1.21</c:v>
                </c:pt>
                <c:pt idx="1">
                  <c:v>1.9649999999999999</c:v>
                </c:pt>
                <c:pt idx="2">
                  <c:v>3.96</c:v>
                </c:pt>
                <c:pt idx="3">
                  <c:v>3.9249999999999998</c:v>
                </c:pt>
                <c:pt idx="4">
                  <c:v>3.95</c:v>
                </c:pt>
                <c:pt idx="5">
                  <c:v>5.4749999999999996</c:v>
                </c:pt>
                <c:pt idx="6">
                  <c:v>6.21</c:v>
                </c:pt>
                <c:pt idx="7">
                  <c:v>8.58</c:v>
                </c:pt>
                <c:pt idx="8">
                  <c:v>10.4</c:v>
                </c:pt>
                <c:pt idx="9">
                  <c:v>15.32</c:v>
                </c:pt>
                <c:pt idx="10">
                  <c:v>13.675000000000001</c:v>
                </c:pt>
                <c:pt idx="11">
                  <c:v>15.414999999999999</c:v>
                </c:pt>
                <c:pt idx="12">
                  <c:v>30.115000000000002</c:v>
                </c:pt>
                <c:pt idx="13">
                  <c:v>31.49</c:v>
                </c:pt>
                <c:pt idx="14">
                  <c:v>29.575000000000003</c:v>
                </c:pt>
                <c:pt idx="15">
                  <c:v>24.365000000000002</c:v>
                </c:pt>
                <c:pt idx="16">
                  <c:v>32.064999999999998</c:v>
                </c:pt>
                <c:pt idx="17">
                  <c:v>26.535</c:v>
                </c:pt>
                <c:pt idx="18">
                  <c:v>44.08</c:v>
                </c:pt>
                <c:pt idx="19">
                  <c:v>97.07</c:v>
                </c:pt>
                <c:pt idx="20">
                  <c:v>95.585000000000008</c:v>
                </c:pt>
                <c:pt idx="21">
                  <c:v>131.2699999999999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scaling>
        <c:delete val="0"/>
        <c:axPos val="r"/>
        <c:numFmt formatCode="General"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B$2:$B$23</c:f>
              <c:numCache>
                <c:formatCode>General</c:formatCode>
                <c:ptCount val="22"/>
                <c:pt idx="0">
                  <c:v>13</c:v>
                </c:pt>
                <c:pt idx="1">
                  <c:v>1</c:v>
                </c:pt>
                <c:pt idx="2">
                  <c:v>5</c:v>
                </c:pt>
                <c:pt idx="3">
                  <c:v>14</c:v>
                </c:pt>
                <c:pt idx="4">
                  <c:v>123</c:v>
                </c:pt>
                <c:pt idx="5">
                  <c:v>0</c:v>
                </c:pt>
                <c:pt idx="6">
                  <c:v>0</c:v>
                </c:pt>
                <c:pt idx="7">
                  <c:v>0</c:v>
                </c:pt>
                <c:pt idx="8">
                  <c:v>13</c:v>
                </c:pt>
                <c:pt idx="9">
                  <c:v>0</c:v>
                </c:pt>
                <c:pt idx="10">
                  <c:v>0</c:v>
                </c:pt>
                <c:pt idx="11">
                  <c:v>0</c:v>
                </c:pt>
                <c:pt idx="12">
                  <c:v>0</c:v>
                </c:pt>
                <c:pt idx="13">
                  <c:v>0</c:v>
                </c:pt>
                <c:pt idx="14">
                  <c:v>0</c:v>
                </c:pt>
                <c:pt idx="15">
                  <c:v>1</c:v>
                </c:pt>
                <c:pt idx="16">
                  <c:v>0</c:v>
                </c:pt>
                <c:pt idx="17">
                  <c:v>8</c:v>
                </c:pt>
                <c:pt idx="18">
                  <c:v>0</c:v>
                </c:pt>
                <c:pt idx="19">
                  <c:v>0</c:v>
                </c:pt>
                <c:pt idx="20">
                  <c:v>6</c:v>
                </c:pt>
                <c:pt idx="21">
                  <c:v>0</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C$2:$C$23</c:f>
              <c:numCache>
                <c:formatCode>General</c:formatCode>
                <c:ptCount val="22"/>
                <c:pt idx="0">
                  <c:v>1.1399999999999999</c:v>
                </c:pt>
                <c:pt idx="1">
                  <c:v>2.15</c:v>
                </c:pt>
                <c:pt idx="2">
                  <c:v>4.46</c:v>
                </c:pt>
                <c:pt idx="3">
                  <c:v>4</c:v>
                </c:pt>
                <c:pt idx="4">
                  <c:v>3.95</c:v>
                </c:pt>
                <c:pt idx="5">
                  <c:v>6.9</c:v>
                </c:pt>
                <c:pt idx="6">
                  <c:v>7.58</c:v>
                </c:pt>
                <c:pt idx="7">
                  <c:v>8.27</c:v>
                </c:pt>
                <c:pt idx="8">
                  <c:v>10.92</c:v>
                </c:pt>
                <c:pt idx="9">
                  <c:v>18.79</c:v>
                </c:pt>
                <c:pt idx="10">
                  <c:v>15.11</c:v>
                </c:pt>
                <c:pt idx="11">
                  <c:v>16.61</c:v>
                </c:pt>
                <c:pt idx="12">
                  <c:v>39</c:v>
                </c:pt>
                <c:pt idx="13">
                  <c:v>38.69</c:v>
                </c:pt>
                <c:pt idx="14">
                  <c:v>34.56</c:v>
                </c:pt>
                <c:pt idx="15">
                  <c:v>22.36</c:v>
                </c:pt>
                <c:pt idx="16">
                  <c:v>35.590000000000003</c:v>
                </c:pt>
                <c:pt idx="17">
                  <c:v>22.95</c:v>
                </c:pt>
                <c:pt idx="18">
                  <c:v>45.5</c:v>
                </c:pt>
                <c:pt idx="19">
                  <c:v>101.71</c:v>
                </c:pt>
                <c:pt idx="20">
                  <c:v>96.37</c:v>
                </c:pt>
                <c:pt idx="21">
                  <c:v>144.0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D$2:$D$23</c:f>
              <c:numCache>
                <c:formatCode>General</c:formatCode>
                <c:ptCount val="22"/>
                <c:pt idx="0">
                  <c:v>1.28</c:v>
                </c:pt>
                <c:pt idx="1">
                  <c:v>1.78</c:v>
                </c:pt>
                <c:pt idx="2">
                  <c:v>3.46</c:v>
                </c:pt>
                <c:pt idx="3">
                  <c:v>3.85</c:v>
                </c:pt>
                <c:pt idx="4">
                  <c:v>3.95</c:v>
                </c:pt>
                <c:pt idx="5">
                  <c:v>4.05</c:v>
                </c:pt>
                <c:pt idx="6">
                  <c:v>4.84</c:v>
                </c:pt>
                <c:pt idx="7">
                  <c:v>8.89</c:v>
                </c:pt>
                <c:pt idx="8">
                  <c:v>9.8800000000000008</c:v>
                </c:pt>
                <c:pt idx="9">
                  <c:v>11.85</c:v>
                </c:pt>
                <c:pt idx="10">
                  <c:v>12.24</c:v>
                </c:pt>
                <c:pt idx="11">
                  <c:v>14.22</c:v>
                </c:pt>
                <c:pt idx="12">
                  <c:v>21.23</c:v>
                </c:pt>
                <c:pt idx="13">
                  <c:v>24.29</c:v>
                </c:pt>
                <c:pt idx="14">
                  <c:v>24.59</c:v>
                </c:pt>
                <c:pt idx="15">
                  <c:v>26.37</c:v>
                </c:pt>
                <c:pt idx="16">
                  <c:v>28.54</c:v>
                </c:pt>
                <c:pt idx="17">
                  <c:v>30.12</c:v>
                </c:pt>
                <c:pt idx="18">
                  <c:v>42.66</c:v>
                </c:pt>
                <c:pt idx="19">
                  <c:v>92.43</c:v>
                </c:pt>
                <c:pt idx="20">
                  <c:v>94.8</c:v>
                </c:pt>
                <c:pt idx="21">
                  <c:v>11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rPr lang="en-US"/>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rPr lang="en-US"/>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E$2:$E$23</c:f>
              <c:numCache>
                <c:formatCode>General</c:formatCode>
                <c:ptCount val="22"/>
                <c:pt idx="0">
                  <c:v>1.21</c:v>
                </c:pt>
                <c:pt idx="1">
                  <c:v>1.9649999999999999</c:v>
                </c:pt>
                <c:pt idx="2">
                  <c:v>3.96</c:v>
                </c:pt>
                <c:pt idx="3">
                  <c:v>3.9249999999999998</c:v>
                </c:pt>
                <c:pt idx="4">
                  <c:v>3.95</c:v>
                </c:pt>
                <c:pt idx="5">
                  <c:v>5.4749999999999996</c:v>
                </c:pt>
                <c:pt idx="6">
                  <c:v>6.21</c:v>
                </c:pt>
                <c:pt idx="7">
                  <c:v>8.58</c:v>
                </c:pt>
                <c:pt idx="8">
                  <c:v>10.4</c:v>
                </c:pt>
                <c:pt idx="9">
                  <c:v>15.32</c:v>
                </c:pt>
                <c:pt idx="10">
                  <c:v>13.675000000000001</c:v>
                </c:pt>
                <c:pt idx="11">
                  <c:v>15.414999999999999</c:v>
                </c:pt>
                <c:pt idx="12">
                  <c:v>30.115000000000002</c:v>
                </c:pt>
                <c:pt idx="13">
                  <c:v>31.49</c:v>
                </c:pt>
                <c:pt idx="14">
                  <c:v>29.575000000000003</c:v>
                </c:pt>
                <c:pt idx="15">
                  <c:v>24.365000000000002</c:v>
                </c:pt>
                <c:pt idx="16">
                  <c:v>32.064999999999998</c:v>
                </c:pt>
                <c:pt idx="17">
                  <c:v>26.535</c:v>
                </c:pt>
                <c:pt idx="18">
                  <c:v>44.08</c:v>
                </c:pt>
                <c:pt idx="19">
                  <c:v>97.07</c:v>
                </c:pt>
                <c:pt idx="20">
                  <c:v>95.585000000000008</c:v>
                </c:pt>
                <c:pt idx="21">
                  <c:v>131.2699999999999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scaling>
        <c:delete val="0"/>
        <c:axPos val="r"/>
        <c:numFmt formatCode="General"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B$2:$B$23</c:f>
              <c:numCache>
                <c:formatCode>General</c:formatCode>
                <c:ptCount val="22"/>
                <c:pt idx="0">
                  <c:v>13</c:v>
                </c:pt>
                <c:pt idx="1">
                  <c:v>1</c:v>
                </c:pt>
                <c:pt idx="2">
                  <c:v>5</c:v>
                </c:pt>
                <c:pt idx="3">
                  <c:v>14</c:v>
                </c:pt>
                <c:pt idx="4">
                  <c:v>123</c:v>
                </c:pt>
                <c:pt idx="5">
                  <c:v>0</c:v>
                </c:pt>
                <c:pt idx="6">
                  <c:v>0</c:v>
                </c:pt>
                <c:pt idx="7">
                  <c:v>0</c:v>
                </c:pt>
                <c:pt idx="8">
                  <c:v>13</c:v>
                </c:pt>
                <c:pt idx="9">
                  <c:v>0</c:v>
                </c:pt>
                <c:pt idx="10">
                  <c:v>0</c:v>
                </c:pt>
                <c:pt idx="11">
                  <c:v>0</c:v>
                </c:pt>
                <c:pt idx="12">
                  <c:v>0</c:v>
                </c:pt>
                <c:pt idx="13">
                  <c:v>0</c:v>
                </c:pt>
                <c:pt idx="14">
                  <c:v>0</c:v>
                </c:pt>
                <c:pt idx="15">
                  <c:v>1</c:v>
                </c:pt>
                <c:pt idx="16">
                  <c:v>0</c:v>
                </c:pt>
                <c:pt idx="17">
                  <c:v>8</c:v>
                </c:pt>
                <c:pt idx="18">
                  <c:v>0</c:v>
                </c:pt>
                <c:pt idx="19">
                  <c:v>0</c:v>
                </c:pt>
                <c:pt idx="20">
                  <c:v>6</c:v>
                </c:pt>
                <c:pt idx="21">
                  <c:v>0</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C$2:$C$23</c:f>
              <c:numCache>
                <c:formatCode>General</c:formatCode>
                <c:ptCount val="22"/>
                <c:pt idx="0">
                  <c:v>1.1399999999999999</c:v>
                </c:pt>
                <c:pt idx="1">
                  <c:v>2.15</c:v>
                </c:pt>
                <c:pt idx="2">
                  <c:v>4.46</c:v>
                </c:pt>
                <c:pt idx="3">
                  <c:v>4</c:v>
                </c:pt>
                <c:pt idx="4">
                  <c:v>3.95</c:v>
                </c:pt>
                <c:pt idx="5">
                  <c:v>6.9</c:v>
                </c:pt>
                <c:pt idx="6">
                  <c:v>7.58</c:v>
                </c:pt>
                <c:pt idx="7">
                  <c:v>8.27</c:v>
                </c:pt>
                <c:pt idx="8">
                  <c:v>10.92</c:v>
                </c:pt>
                <c:pt idx="9">
                  <c:v>18.79</c:v>
                </c:pt>
                <c:pt idx="10">
                  <c:v>15.11</c:v>
                </c:pt>
                <c:pt idx="11">
                  <c:v>16.61</c:v>
                </c:pt>
                <c:pt idx="12">
                  <c:v>39</c:v>
                </c:pt>
                <c:pt idx="13">
                  <c:v>38.69</c:v>
                </c:pt>
                <c:pt idx="14">
                  <c:v>34.56</c:v>
                </c:pt>
                <c:pt idx="15">
                  <c:v>22.36</c:v>
                </c:pt>
                <c:pt idx="16">
                  <c:v>35.590000000000003</c:v>
                </c:pt>
                <c:pt idx="17">
                  <c:v>22.95</c:v>
                </c:pt>
                <c:pt idx="18">
                  <c:v>45.5</c:v>
                </c:pt>
                <c:pt idx="19">
                  <c:v>101.71</c:v>
                </c:pt>
                <c:pt idx="20">
                  <c:v>96.37</c:v>
                </c:pt>
                <c:pt idx="21">
                  <c:v>144.0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D$2:$D$23</c:f>
              <c:numCache>
                <c:formatCode>General</c:formatCode>
                <c:ptCount val="22"/>
                <c:pt idx="0">
                  <c:v>1.28</c:v>
                </c:pt>
                <c:pt idx="1">
                  <c:v>1.78</c:v>
                </c:pt>
                <c:pt idx="2">
                  <c:v>3.46</c:v>
                </c:pt>
                <c:pt idx="3">
                  <c:v>3.85</c:v>
                </c:pt>
                <c:pt idx="4">
                  <c:v>3.95</c:v>
                </c:pt>
                <c:pt idx="5">
                  <c:v>4.05</c:v>
                </c:pt>
                <c:pt idx="6">
                  <c:v>4.84</c:v>
                </c:pt>
                <c:pt idx="7">
                  <c:v>8.89</c:v>
                </c:pt>
                <c:pt idx="8">
                  <c:v>9.8800000000000008</c:v>
                </c:pt>
                <c:pt idx="9">
                  <c:v>11.85</c:v>
                </c:pt>
                <c:pt idx="10">
                  <c:v>12.24</c:v>
                </c:pt>
                <c:pt idx="11">
                  <c:v>14.22</c:v>
                </c:pt>
                <c:pt idx="12">
                  <c:v>21.23</c:v>
                </c:pt>
                <c:pt idx="13">
                  <c:v>24.29</c:v>
                </c:pt>
                <c:pt idx="14">
                  <c:v>24.59</c:v>
                </c:pt>
                <c:pt idx="15">
                  <c:v>26.37</c:v>
                </c:pt>
                <c:pt idx="16">
                  <c:v>28.54</c:v>
                </c:pt>
                <c:pt idx="17">
                  <c:v>30.12</c:v>
                </c:pt>
                <c:pt idx="18">
                  <c:v>42.66</c:v>
                </c:pt>
                <c:pt idx="19">
                  <c:v>92.43</c:v>
                </c:pt>
                <c:pt idx="20">
                  <c:v>94.8</c:v>
                </c:pt>
                <c:pt idx="21">
                  <c:v>11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rPr lang="en-US"/>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rPr lang="en-US"/>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E$2:$E$23</c:f>
              <c:numCache>
                <c:formatCode>General</c:formatCode>
                <c:ptCount val="22"/>
                <c:pt idx="0">
                  <c:v>1.21</c:v>
                </c:pt>
                <c:pt idx="1">
                  <c:v>1.9649999999999999</c:v>
                </c:pt>
                <c:pt idx="2">
                  <c:v>3.96</c:v>
                </c:pt>
                <c:pt idx="3">
                  <c:v>3.9249999999999998</c:v>
                </c:pt>
                <c:pt idx="4">
                  <c:v>3.95</c:v>
                </c:pt>
                <c:pt idx="5">
                  <c:v>5.4749999999999996</c:v>
                </c:pt>
                <c:pt idx="6">
                  <c:v>6.21</c:v>
                </c:pt>
                <c:pt idx="7">
                  <c:v>8.58</c:v>
                </c:pt>
                <c:pt idx="8">
                  <c:v>10.4</c:v>
                </c:pt>
                <c:pt idx="9">
                  <c:v>15.32</c:v>
                </c:pt>
                <c:pt idx="10">
                  <c:v>13.675000000000001</c:v>
                </c:pt>
                <c:pt idx="11">
                  <c:v>15.414999999999999</c:v>
                </c:pt>
                <c:pt idx="12">
                  <c:v>30.115000000000002</c:v>
                </c:pt>
                <c:pt idx="13">
                  <c:v>31.49</c:v>
                </c:pt>
                <c:pt idx="14">
                  <c:v>29.575000000000003</c:v>
                </c:pt>
                <c:pt idx="15">
                  <c:v>24.365000000000002</c:v>
                </c:pt>
                <c:pt idx="16">
                  <c:v>32.064999999999998</c:v>
                </c:pt>
                <c:pt idx="17">
                  <c:v>26.535</c:v>
                </c:pt>
                <c:pt idx="18">
                  <c:v>44.08</c:v>
                </c:pt>
                <c:pt idx="19">
                  <c:v>97.07</c:v>
                </c:pt>
                <c:pt idx="20">
                  <c:v>95.585000000000008</c:v>
                </c:pt>
                <c:pt idx="21">
                  <c:v>131.2699999999999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scaling>
        <c:delete val="0"/>
        <c:axPos val="r"/>
        <c:numFmt formatCode="General"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B$2:$B$23</c:f>
              <c:numCache>
                <c:formatCode>General</c:formatCode>
                <c:ptCount val="22"/>
                <c:pt idx="0">
                  <c:v>13</c:v>
                </c:pt>
                <c:pt idx="1">
                  <c:v>1</c:v>
                </c:pt>
                <c:pt idx="2">
                  <c:v>5</c:v>
                </c:pt>
                <c:pt idx="3">
                  <c:v>14</c:v>
                </c:pt>
                <c:pt idx="4">
                  <c:v>123</c:v>
                </c:pt>
                <c:pt idx="5">
                  <c:v>0</c:v>
                </c:pt>
                <c:pt idx="6">
                  <c:v>0</c:v>
                </c:pt>
                <c:pt idx="7">
                  <c:v>0</c:v>
                </c:pt>
                <c:pt idx="8">
                  <c:v>13</c:v>
                </c:pt>
                <c:pt idx="9">
                  <c:v>0</c:v>
                </c:pt>
                <c:pt idx="10">
                  <c:v>0</c:v>
                </c:pt>
                <c:pt idx="11">
                  <c:v>0</c:v>
                </c:pt>
                <c:pt idx="12">
                  <c:v>0</c:v>
                </c:pt>
                <c:pt idx="13">
                  <c:v>0</c:v>
                </c:pt>
                <c:pt idx="14">
                  <c:v>0</c:v>
                </c:pt>
                <c:pt idx="15">
                  <c:v>1</c:v>
                </c:pt>
                <c:pt idx="16">
                  <c:v>0</c:v>
                </c:pt>
                <c:pt idx="17">
                  <c:v>8</c:v>
                </c:pt>
                <c:pt idx="18">
                  <c:v>0</c:v>
                </c:pt>
                <c:pt idx="19">
                  <c:v>0</c:v>
                </c:pt>
                <c:pt idx="20">
                  <c:v>6</c:v>
                </c:pt>
                <c:pt idx="21">
                  <c:v>0</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C$2:$C$23</c:f>
              <c:numCache>
                <c:formatCode>General</c:formatCode>
                <c:ptCount val="22"/>
                <c:pt idx="0">
                  <c:v>1.1399999999999999</c:v>
                </c:pt>
                <c:pt idx="1">
                  <c:v>2.15</c:v>
                </c:pt>
                <c:pt idx="2">
                  <c:v>4.46</c:v>
                </c:pt>
                <c:pt idx="3">
                  <c:v>4</c:v>
                </c:pt>
                <c:pt idx="4">
                  <c:v>3.95</c:v>
                </c:pt>
                <c:pt idx="5">
                  <c:v>6.9</c:v>
                </c:pt>
                <c:pt idx="6">
                  <c:v>7.58</c:v>
                </c:pt>
                <c:pt idx="7">
                  <c:v>8.27</c:v>
                </c:pt>
                <c:pt idx="8">
                  <c:v>10.92</c:v>
                </c:pt>
                <c:pt idx="9">
                  <c:v>18.79</c:v>
                </c:pt>
                <c:pt idx="10">
                  <c:v>15.11</c:v>
                </c:pt>
                <c:pt idx="11">
                  <c:v>16.61</c:v>
                </c:pt>
                <c:pt idx="12">
                  <c:v>39</c:v>
                </c:pt>
                <c:pt idx="13">
                  <c:v>38.69</c:v>
                </c:pt>
                <c:pt idx="14">
                  <c:v>34.56</c:v>
                </c:pt>
                <c:pt idx="15">
                  <c:v>22.36</c:v>
                </c:pt>
                <c:pt idx="16">
                  <c:v>35.590000000000003</c:v>
                </c:pt>
                <c:pt idx="17">
                  <c:v>22.95</c:v>
                </c:pt>
                <c:pt idx="18">
                  <c:v>45.5</c:v>
                </c:pt>
                <c:pt idx="19">
                  <c:v>101.71</c:v>
                </c:pt>
                <c:pt idx="20">
                  <c:v>96.37</c:v>
                </c:pt>
                <c:pt idx="21">
                  <c:v>144.0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D$2:$D$23</c:f>
              <c:numCache>
                <c:formatCode>General</c:formatCode>
                <c:ptCount val="22"/>
                <c:pt idx="0">
                  <c:v>1.28</c:v>
                </c:pt>
                <c:pt idx="1">
                  <c:v>1.78</c:v>
                </c:pt>
                <c:pt idx="2">
                  <c:v>3.46</c:v>
                </c:pt>
                <c:pt idx="3">
                  <c:v>3.85</c:v>
                </c:pt>
                <c:pt idx="4">
                  <c:v>3.95</c:v>
                </c:pt>
                <c:pt idx="5">
                  <c:v>4.05</c:v>
                </c:pt>
                <c:pt idx="6">
                  <c:v>4.84</c:v>
                </c:pt>
                <c:pt idx="7">
                  <c:v>8.89</c:v>
                </c:pt>
                <c:pt idx="8">
                  <c:v>9.8800000000000008</c:v>
                </c:pt>
                <c:pt idx="9">
                  <c:v>11.85</c:v>
                </c:pt>
                <c:pt idx="10">
                  <c:v>12.24</c:v>
                </c:pt>
                <c:pt idx="11">
                  <c:v>14.22</c:v>
                </c:pt>
                <c:pt idx="12">
                  <c:v>21.23</c:v>
                </c:pt>
                <c:pt idx="13">
                  <c:v>24.29</c:v>
                </c:pt>
                <c:pt idx="14">
                  <c:v>24.59</c:v>
                </c:pt>
                <c:pt idx="15">
                  <c:v>26.37</c:v>
                </c:pt>
                <c:pt idx="16">
                  <c:v>28.54</c:v>
                </c:pt>
                <c:pt idx="17">
                  <c:v>30.12</c:v>
                </c:pt>
                <c:pt idx="18">
                  <c:v>42.66</c:v>
                </c:pt>
                <c:pt idx="19">
                  <c:v>92.43</c:v>
                </c:pt>
                <c:pt idx="20">
                  <c:v>94.8</c:v>
                </c:pt>
                <c:pt idx="21">
                  <c:v>11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rPr lang="en-US"/>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rPr lang="en-US"/>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E$2:$E$23</c:f>
              <c:numCache>
                <c:formatCode>General</c:formatCode>
                <c:ptCount val="22"/>
                <c:pt idx="0">
                  <c:v>1.21</c:v>
                </c:pt>
                <c:pt idx="1">
                  <c:v>1.9649999999999999</c:v>
                </c:pt>
                <c:pt idx="2">
                  <c:v>3.96</c:v>
                </c:pt>
                <c:pt idx="3">
                  <c:v>3.9249999999999998</c:v>
                </c:pt>
                <c:pt idx="4">
                  <c:v>3.95</c:v>
                </c:pt>
                <c:pt idx="5">
                  <c:v>5.4749999999999996</c:v>
                </c:pt>
                <c:pt idx="6">
                  <c:v>6.21</c:v>
                </c:pt>
                <c:pt idx="7">
                  <c:v>8.58</c:v>
                </c:pt>
                <c:pt idx="8">
                  <c:v>10.4</c:v>
                </c:pt>
                <c:pt idx="9">
                  <c:v>15.32</c:v>
                </c:pt>
                <c:pt idx="10">
                  <c:v>13.675000000000001</c:v>
                </c:pt>
                <c:pt idx="11">
                  <c:v>15.414999999999999</c:v>
                </c:pt>
                <c:pt idx="12">
                  <c:v>30.115000000000002</c:v>
                </c:pt>
                <c:pt idx="13">
                  <c:v>31.49</c:v>
                </c:pt>
                <c:pt idx="14">
                  <c:v>29.575000000000003</c:v>
                </c:pt>
                <c:pt idx="15">
                  <c:v>24.365000000000002</c:v>
                </c:pt>
                <c:pt idx="16">
                  <c:v>32.064999999999998</c:v>
                </c:pt>
                <c:pt idx="17">
                  <c:v>26.535</c:v>
                </c:pt>
                <c:pt idx="18">
                  <c:v>44.08</c:v>
                </c:pt>
                <c:pt idx="19">
                  <c:v>97.07</c:v>
                </c:pt>
                <c:pt idx="20">
                  <c:v>95.585000000000008</c:v>
                </c:pt>
                <c:pt idx="21">
                  <c:v>131.2699999999999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scaling>
        <c:delete val="0"/>
        <c:axPos val="r"/>
        <c:numFmt formatCode="General"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B$2:$B$23</c:f>
              <c:numCache>
                <c:formatCode>General</c:formatCode>
                <c:ptCount val="22"/>
                <c:pt idx="0">
                  <c:v>13</c:v>
                </c:pt>
                <c:pt idx="1">
                  <c:v>1</c:v>
                </c:pt>
                <c:pt idx="2">
                  <c:v>5</c:v>
                </c:pt>
                <c:pt idx="3">
                  <c:v>14</c:v>
                </c:pt>
                <c:pt idx="4">
                  <c:v>123</c:v>
                </c:pt>
                <c:pt idx="5">
                  <c:v>0</c:v>
                </c:pt>
                <c:pt idx="6">
                  <c:v>0</c:v>
                </c:pt>
                <c:pt idx="7">
                  <c:v>0</c:v>
                </c:pt>
                <c:pt idx="8">
                  <c:v>13</c:v>
                </c:pt>
                <c:pt idx="9">
                  <c:v>0</c:v>
                </c:pt>
                <c:pt idx="10">
                  <c:v>0</c:v>
                </c:pt>
                <c:pt idx="11">
                  <c:v>0</c:v>
                </c:pt>
                <c:pt idx="12">
                  <c:v>0</c:v>
                </c:pt>
                <c:pt idx="13">
                  <c:v>0</c:v>
                </c:pt>
                <c:pt idx="14">
                  <c:v>0</c:v>
                </c:pt>
                <c:pt idx="15">
                  <c:v>1</c:v>
                </c:pt>
                <c:pt idx="16">
                  <c:v>0</c:v>
                </c:pt>
                <c:pt idx="17">
                  <c:v>8</c:v>
                </c:pt>
                <c:pt idx="18">
                  <c:v>0</c:v>
                </c:pt>
                <c:pt idx="19">
                  <c:v>0</c:v>
                </c:pt>
                <c:pt idx="20">
                  <c:v>6</c:v>
                </c:pt>
                <c:pt idx="21">
                  <c:v>0</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C$2:$C$23</c:f>
              <c:numCache>
                <c:formatCode>General</c:formatCode>
                <c:ptCount val="22"/>
                <c:pt idx="0">
                  <c:v>1.1399999999999999</c:v>
                </c:pt>
                <c:pt idx="1">
                  <c:v>2.15</c:v>
                </c:pt>
                <c:pt idx="2">
                  <c:v>4.46</c:v>
                </c:pt>
                <c:pt idx="3">
                  <c:v>4</c:v>
                </c:pt>
                <c:pt idx="4">
                  <c:v>3.95</c:v>
                </c:pt>
                <c:pt idx="5">
                  <c:v>6.9</c:v>
                </c:pt>
                <c:pt idx="6">
                  <c:v>7.58</c:v>
                </c:pt>
                <c:pt idx="7">
                  <c:v>8.27</c:v>
                </c:pt>
                <c:pt idx="8">
                  <c:v>10.92</c:v>
                </c:pt>
                <c:pt idx="9">
                  <c:v>18.79</c:v>
                </c:pt>
                <c:pt idx="10">
                  <c:v>15.11</c:v>
                </c:pt>
                <c:pt idx="11">
                  <c:v>16.61</c:v>
                </c:pt>
                <c:pt idx="12">
                  <c:v>39</c:v>
                </c:pt>
                <c:pt idx="13">
                  <c:v>38.69</c:v>
                </c:pt>
                <c:pt idx="14">
                  <c:v>34.56</c:v>
                </c:pt>
                <c:pt idx="15">
                  <c:v>22.36</c:v>
                </c:pt>
                <c:pt idx="16">
                  <c:v>35.590000000000003</c:v>
                </c:pt>
                <c:pt idx="17">
                  <c:v>22.95</c:v>
                </c:pt>
                <c:pt idx="18">
                  <c:v>45.5</c:v>
                </c:pt>
                <c:pt idx="19">
                  <c:v>101.71</c:v>
                </c:pt>
                <c:pt idx="20">
                  <c:v>96.37</c:v>
                </c:pt>
                <c:pt idx="21">
                  <c:v>144.0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D$2:$D$23</c:f>
              <c:numCache>
                <c:formatCode>General</c:formatCode>
                <c:ptCount val="22"/>
                <c:pt idx="0">
                  <c:v>1.28</c:v>
                </c:pt>
                <c:pt idx="1">
                  <c:v>1.78</c:v>
                </c:pt>
                <c:pt idx="2">
                  <c:v>3.46</c:v>
                </c:pt>
                <c:pt idx="3">
                  <c:v>3.85</c:v>
                </c:pt>
                <c:pt idx="4">
                  <c:v>3.95</c:v>
                </c:pt>
                <c:pt idx="5">
                  <c:v>4.05</c:v>
                </c:pt>
                <c:pt idx="6">
                  <c:v>4.84</c:v>
                </c:pt>
                <c:pt idx="7">
                  <c:v>8.89</c:v>
                </c:pt>
                <c:pt idx="8">
                  <c:v>9.8800000000000008</c:v>
                </c:pt>
                <c:pt idx="9">
                  <c:v>11.85</c:v>
                </c:pt>
                <c:pt idx="10">
                  <c:v>12.24</c:v>
                </c:pt>
                <c:pt idx="11">
                  <c:v>14.22</c:v>
                </c:pt>
                <c:pt idx="12">
                  <c:v>21.23</c:v>
                </c:pt>
                <c:pt idx="13">
                  <c:v>24.29</c:v>
                </c:pt>
                <c:pt idx="14">
                  <c:v>24.59</c:v>
                </c:pt>
                <c:pt idx="15">
                  <c:v>26.37</c:v>
                </c:pt>
                <c:pt idx="16">
                  <c:v>28.54</c:v>
                </c:pt>
                <c:pt idx="17">
                  <c:v>30.12</c:v>
                </c:pt>
                <c:pt idx="18">
                  <c:v>42.66</c:v>
                </c:pt>
                <c:pt idx="19">
                  <c:v>92.43</c:v>
                </c:pt>
                <c:pt idx="20">
                  <c:v>94.8</c:v>
                </c:pt>
                <c:pt idx="21">
                  <c:v>11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rPr lang="en-US"/>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rPr lang="en-US"/>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E$2:$E$23</c:f>
              <c:numCache>
                <c:formatCode>General</c:formatCode>
                <c:ptCount val="22"/>
                <c:pt idx="0">
                  <c:v>1.21</c:v>
                </c:pt>
                <c:pt idx="1">
                  <c:v>1.9649999999999999</c:v>
                </c:pt>
                <c:pt idx="2">
                  <c:v>3.96</c:v>
                </c:pt>
                <c:pt idx="3">
                  <c:v>3.9249999999999998</c:v>
                </c:pt>
                <c:pt idx="4">
                  <c:v>3.95</c:v>
                </c:pt>
                <c:pt idx="5">
                  <c:v>5.4749999999999996</c:v>
                </c:pt>
                <c:pt idx="6">
                  <c:v>6.21</c:v>
                </c:pt>
                <c:pt idx="7">
                  <c:v>8.58</c:v>
                </c:pt>
                <c:pt idx="8">
                  <c:v>10.4</c:v>
                </c:pt>
                <c:pt idx="9">
                  <c:v>15.32</c:v>
                </c:pt>
                <c:pt idx="10">
                  <c:v>13.675000000000001</c:v>
                </c:pt>
                <c:pt idx="11">
                  <c:v>15.414999999999999</c:v>
                </c:pt>
                <c:pt idx="12">
                  <c:v>30.115000000000002</c:v>
                </c:pt>
                <c:pt idx="13">
                  <c:v>31.49</c:v>
                </c:pt>
                <c:pt idx="14">
                  <c:v>29.575000000000003</c:v>
                </c:pt>
                <c:pt idx="15">
                  <c:v>24.365000000000002</c:v>
                </c:pt>
                <c:pt idx="16">
                  <c:v>32.064999999999998</c:v>
                </c:pt>
                <c:pt idx="17">
                  <c:v>26.535</c:v>
                </c:pt>
                <c:pt idx="18">
                  <c:v>44.08</c:v>
                </c:pt>
                <c:pt idx="19">
                  <c:v>97.07</c:v>
                </c:pt>
                <c:pt idx="20">
                  <c:v>95.585000000000008</c:v>
                </c:pt>
                <c:pt idx="21">
                  <c:v>131.2699999999999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scaling>
        <c:delete val="0"/>
        <c:axPos val="r"/>
        <c:numFmt formatCode="General"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B$2:$B$23</c:f>
              <c:numCache>
                <c:formatCode>General</c:formatCode>
                <c:ptCount val="22"/>
                <c:pt idx="0">
                  <c:v>13</c:v>
                </c:pt>
                <c:pt idx="1">
                  <c:v>1</c:v>
                </c:pt>
                <c:pt idx="2">
                  <c:v>5</c:v>
                </c:pt>
                <c:pt idx="3">
                  <c:v>14</c:v>
                </c:pt>
                <c:pt idx="4">
                  <c:v>123</c:v>
                </c:pt>
                <c:pt idx="5">
                  <c:v>0</c:v>
                </c:pt>
                <c:pt idx="6">
                  <c:v>0</c:v>
                </c:pt>
                <c:pt idx="7">
                  <c:v>0</c:v>
                </c:pt>
                <c:pt idx="8">
                  <c:v>13</c:v>
                </c:pt>
                <c:pt idx="9">
                  <c:v>0</c:v>
                </c:pt>
                <c:pt idx="10">
                  <c:v>0</c:v>
                </c:pt>
                <c:pt idx="11">
                  <c:v>0</c:v>
                </c:pt>
                <c:pt idx="12">
                  <c:v>0</c:v>
                </c:pt>
                <c:pt idx="13">
                  <c:v>0</c:v>
                </c:pt>
                <c:pt idx="14">
                  <c:v>0</c:v>
                </c:pt>
                <c:pt idx="15">
                  <c:v>1</c:v>
                </c:pt>
                <c:pt idx="16">
                  <c:v>0</c:v>
                </c:pt>
                <c:pt idx="17">
                  <c:v>8</c:v>
                </c:pt>
                <c:pt idx="18">
                  <c:v>0</c:v>
                </c:pt>
                <c:pt idx="19">
                  <c:v>0</c:v>
                </c:pt>
                <c:pt idx="20">
                  <c:v>6</c:v>
                </c:pt>
                <c:pt idx="21">
                  <c:v>0</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C$2:$C$23</c:f>
              <c:numCache>
                <c:formatCode>General</c:formatCode>
                <c:ptCount val="22"/>
                <c:pt idx="0">
                  <c:v>1.1399999999999999</c:v>
                </c:pt>
                <c:pt idx="1">
                  <c:v>2.15</c:v>
                </c:pt>
                <c:pt idx="2">
                  <c:v>4.46</c:v>
                </c:pt>
                <c:pt idx="3">
                  <c:v>4</c:v>
                </c:pt>
                <c:pt idx="4">
                  <c:v>3.95</c:v>
                </c:pt>
                <c:pt idx="5">
                  <c:v>6.9</c:v>
                </c:pt>
                <c:pt idx="6">
                  <c:v>7.58</c:v>
                </c:pt>
                <c:pt idx="7">
                  <c:v>8.27</c:v>
                </c:pt>
                <c:pt idx="8">
                  <c:v>10.92</c:v>
                </c:pt>
                <c:pt idx="9">
                  <c:v>18.79</c:v>
                </c:pt>
                <c:pt idx="10">
                  <c:v>15.11</c:v>
                </c:pt>
                <c:pt idx="11">
                  <c:v>16.61</c:v>
                </c:pt>
                <c:pt idx="12">
                  <c:v>39</c:v>
                </c:pt>
                <c:pt idx="13">
                  <c:v>38.69</c:v>
                </c:pt>
                <c:pt idx="14">
                  <c:v>34.56</c:v>
                </c:pt>
                <c:pt idx="15">
                  <c:v>22.36</c:v>
                </c:pt>
                <c:pt idx="16">
                  <c:v>35.590000000000003</c:v>
                </c:pt>
                <c:pt idx="17">
                  <c:v>22.95</c:v>
                </c:pt>
                <c:pt idx="18">
                  <c:v>45.5</c:v>
                </c:pt>
                <c:pt idx="19">
                  <c:v>101.71</c:v>
                </c:pt>
                <c:pt idx="20">
                  <c:v>96.37</c:v>
                </c:pt>
                <c:pt idx="21">
                  <c:v>144.0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D$2:$D$23</c:f>
              <c:numCache>
                <c:formatCode>General</c:formatCode>
                <c:ptCount val="22"/>
                <c:pt idx="0">
                  <c:v>1.28</c:v>
                </c:pt>
                <c:pt idx="1">
                  <c:v>1.78</c:v>
                </c:pt>
                <c:pt idx="2">
                  <c:v>3.46</c:v>
                </c:pt>
                <c:pt idx="3">
                  <c:v>3.85</c:v>
                </c:pt>
                <c:pt idx="4">
                  <c:v>3.95</c:v>
                </c:pt>
                <c:pt idx="5">
                  <c:v>4.05</c:v>
                </c:pt>
                <c:pt idx="6">
                  <c:v>4.84</c:v>
                </c:pt>
                <c:pt idx="7">
                  <c:v>8.89</c:v>
                </c:pt>
                <c:pt idx="8">
                  <c:v>9.8800000000000008</c:v>
                </c:pt>
                <c:pt idx="9">
                  <c:v>11.85</c:v>
                </c:pt>
                <c:pt idx="10">
                  <c:v>12.24</c:v>
                </c:pt>
                <c:pt idx="11">
                  <c:v>14.22</c:v>
                </c:pt>
                <c:pt idx="12">
                  <c:v>21.23</c:v>
                </c:pt>
                <c:pt idx="13">
                  <c:v>24.29</c:v>
                </c:pt>
                <c:pt idx="14">
                  <c:v>24.59</c:v>
                </c:pt>
                <c:pt idx="15">
                  <c:v>26.37</c:v>
                </c:pt>
                <c:pt idx="16">
                  <c:v>28.54</c:v>
                </c:pt>
                <c:pt idx="17">
                  <c:v>30.12</c:v>
                </c:pt>
                <c:pt idx="18">
                  <c:v>42.66</c:v>
                </c:pt>
                <c:pt idx="19">
                  <c:v>92.43</c:v>
                </c:pt>
                <c:pt idx="20">
                  <c:v>94.8</c:v>
                </c:pt>
                <c:pt idx="21">
                  <c:v>11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rPr lang="en-US"/>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rPr lang="en-US"/>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E$2:$E$23</c:f>
              <c:numCache>
                <c:formatCode>General</c:formatCode>
                <c:ptCount val="22"/>
                <c:pt idx="0">
                  <c:v>1.21</c:v>
                </c:pt>
                <c:pt idx="1">
                  <c:v>1.9649999999999999</c:v>
                </c:pt>
                <c:pt idx="2">
                  <c:v>3.96</c:v>
                </c:pt>
                <c:pt idx="3">
                  <c:v>3.9249999999999998</c:v>
                </c:pt>
                <c:pt idx="4">
                  <c:v>3.95</c:v>
                </c:pt>
                <c:pt idx="5">
                  <c:v>5.4749999999999996</c:v>
                </c:pt>
                <c:pt idx="6">
                  <c:v>6.21</c:v>
                </c:pt>
                <c:pt idx="7">
                  <c:v>8.58</c:v>
                </c:pt>
                <c:pt idx="8">
                  <c:v>10.4</c:v>
                </c:pt>
                <c:pt idx="9">
                  <c:v>15.32</c:v>
                </c:pt>
                <c:pt idx="10">
                  <c:v>13.675000000000001</c:v>
                </c:pt>
                <c:pt idx="11">
                  <c:v>15.414999999999999</c:v>
                </c:pt>
                <c:pt idx="12">
                  <c:v>30.115000000000002</c:v>
                </c:pt>
                <c:pt idx="13">
                  <c:v>31.49</c:v>
                </c:pt>
                <c:pt idx="14">
                  <c:v>29.575000000000003</c:v>
                </c:pt>
                <c:pt idx="15">
                  <c:v>24.365000000000002</c:v>
                </c:pt>
                <c:pt idx="16">
                  <c:v>32.064999999999998</c:v>
                </c:pt>
                <c:pt idx="17">
                  <c:v>26.535</c:v>
                </c:pt>
                <c:pt idx="18">
                  <c:v>44.08</c:v>
                </c:pt>
                <c:pt idx="19">
                  <c:v>97.07</c:v>
                </c:pt>
                <c:pt idx="20">
                  <c:v>95.585000000000008</c:v>
                </c:pt>
                <c:pt idx="21">
                  <c:v>131.2699999999999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scaling>
        <c:delete val="0"/>
        <c:axPos val="r"/>
        <c:numFmt formatCode="General"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B$2:$B$23</c:f>
              <c:numCache>
                <c:formatCode>General</c:formatCode>
                <c:ptCount val="22"/>
                <c:pt idx="0">
                  <c:v>13</c:v>
                </c:pt>
                <c:pt idx="1">
                  <c:v>1</c:v>
                </c:pt>
                <c:pt idx="2">
                  <c:v>5</c:v>
                </c:pt>
                <c:pt idx="3">
                  <c:v>14</c:v>
                </c:pt>
                <c:pt idx="4">
                  <c:v>123</c:v>
                </c:pt>
                <c:pt idx="5">
                  <c:v>0</c:v>
                </c:pt>
                <c:pt idx="6">
                  <c:v>0</c:v>
                </c:pt>
                <c:pt idx="7">
                  <c:v>0</c:v>
                </c:pt>
                <c:pt idx="8">
                  <c:v>13</c:v>
                </c:pt>
                <c:pt idx="9">
                  <c:v>0</c:v>
                </c:pt>
                <c:pt idx="10">
                  <c:v>0</c:v>
                </c:pt>
                <c:pt idx="11">
                  <c:v>0</c:v>
                </c:pt>
                <c:pt idx="12">
                  <c:v>0</c:v>
                </c:pt>
                <c:pt idx="13">
                  <c:v>0</c:v>
                </c:pt>
                <c:pt idx="14">
                  <c:v>0</c:v>
                </c:pt>
                <c:pt idx="15">
                  <c:v>1</c:v>
                </c:pt>
                <c:pt idx="16">
                  <c:v>0</c:v>
                </c:pt>
                <c:pt idx="17">
                  <c:v>8</c:v>
                </c:pt>
                <c:pt idx="18">
                  <c:v>0</c:v>
                </c:pt>
                <c:pt idx="19">
                  <c:v>0</c:v>
                </c:pt>
                <c:pt idx="20">
                  <c:v>6</c:v>
                </c:pt>
                <c:pt idx="21">
                  <c:v>0</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C$2:$C$23</c:f>
              <c:numCache>
                <c:formatCode>General</c:formatCode>
                <c:ptCount val="22"/>
                <c:pt idx="0">
                  <c:v>1.1399999999999999</c:v>
                </c:pt>
                <c:pt idx="1">
                  <c:v>2.15</c:v>
                </c:pt>
                <c:pt idx="2">
                  <c:v>4.46</c:v>
                </c:pt>
                <c:pt idx="3">
                  <c:v>4</c:v>
                </c:pt>
                <c:pt idx="4">
                  <c:v>3.95</c:v>
                </c:pt>
                <c:pt idx="5">
                  <c:v>6.9</c:v>
                </c:pt>
                <c:pt idx="6">
                  <c:v>7.58</c:v>
                </c:pt>
                <c:pt idx="7">
                  <c:v>8.27</c:v>
                </c:pt>
                <c:pt idx="8">
                  <c:v>10.92</c:v>
                </c:pt>
                <c:pt idx="9">
                  <c:v>18.79</c:v>
                </c:pt>
                <c:pt idx="10">
                  <c:v>15.11</c:v>
                </c:pt>
                <c:pt idx="11">
                  <c:v>16.61</c:v>
                </c:pt>
                <c:pt idx="12">
                  <c:v>39</c:v>
                </c:pt>
                <c:pt idx="13">
                  <c:v>38.69</c:v>
                </c:pt>
                <c:pt idx="14">
                  <c:v>34.56</c:v>
                </c:pt>
                <c:pt idx="15">
                  <c:v>22.36</c:v>
                </c:pt>
                <c:pt idx="16">
                  <c:v>35.590000000000003</c:v>
                </c:pt>
                <c:pt idx="17">
                  <c:v>22.95</c:v>
                </c:pt>
                <c:pt idx="18">
                  <c:v>45.5</c:v>
                </c:pt>
                <c:pt idx="19">
                  <c:v>101.71</c:v>
                </c:pt>
                <c:pt idx="20">
                  <c:v>96.37</c:v>
                </c:pt>
                <c:pt idx="21">
                  <c:v>144.0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D$2:$D$23</c:f>
              <c:numCache>
                <c:formatCode>General</c:formatCode>
                <c:ptCount val="22"/>
                <c:pt idx="0">
                  <c:v>1.28</c:v>
                </c:pt>
                <c:pt idx="1">
                  <c:v>1.78</c:v>
                </c:pt>
                <c:pt idx="2">
                  <c:v>3.46</c:v>
                </c:pt>
                <c:pt idx="3">
                  <c:v>3.85</c:v>
                </c:pt>
                <c:pt idx="4">
                  <c:v>3.95</c:v>
                </c:pt>
                <c:pt idx="5">
                  <c:v>4.05</c:v>
                </c:pt>
                <c:pt idx="6">
                  <c:v>4.84</c:v>
                </c:pt>
                <c:pt idx="7">
                  <c:v>8.89</c:v>
                </c:pt>
                <c:pt idx="8">
                  <c:v>9.8800000000000008</c:v>
                </c:pt>
                <c:pt idx="9">
                  <c:v>11.85</c:v>
                </c:pt>
                <c:pt idx="10">
                  <c:v>12.24</c:v>
                </c:pt>
                <c:pt idx="11">
                  <c:v>14.22</c:v>
                </c:pt>
                <c:pt idx="12">
                  <c:v>21.23</c:v>
                </c:pt>
                <c:pt idx="13">
                  <c:v>24.29</c:v>
                </c:pt>
                <c:pt idx="14">
                  <c:v>24.59</c:v>
                </c:pt>
                <c:pt idx="15">
                  <c:v>26.37</c:v>
                </c:pt>
                <c:pt idx="16">
                  <c:v>28.54</c:v>
                </c:pt>
                <c:pt idx="17">
                  <c:v>30.12</c:v>
                </c:pt>
                <c:pt idx="18">
                  <c:v>42.66</c:v>
                </c:pt>
                <c:pt idx="19">
                  <c:v>92.43</c:v>
                </c:pt>
                <c:pt idx="20">
                  <c:v>94.8</c:v>
                </c:pt>
                <c:pt idx="21">
                  <c:v>11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rPr lang="en-US"/>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rPr lang="en-US"/>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E$2:$E$23</c:f>
              <c:numCache>
                <c:formatCode>General</c:formatCode>
                <c:ptCount val="22"/>
                <c:pt idx="0">
                  <c:v>1.21</c:v>
                </c:pt>
                <c:pt idx="1">
                  <c:v>1.9649999999999999</c:v>
                </c:pt>
                <c:pt idx="2">
                  <c:v>3.96</c:v>
                </c:pt>
                <c:pt idx="3">
                  <c:v>3.9249999999999998</c:v>
                </c:pt>
                <c:pt idx="4">
                  <c:v>3.95</c:v>
                </c:pt>
                <c:pt idx="5">
                  <c:v>5.4749999999999996</c:v>
                </c:pt>
                <c:pt idx="6">
                  <c:v>6.21</c:v>
                </c:pt>
                <c:pt idx="7">
                  <c:v>8.58</c:v>
                </c:pt>
                <c:pt idx="8">
                  <c:v>10.4</c:v>
                </c:pt>
                <c:pt idx="9">
                  <c:v>15.32</c:v>
                </c:pt>
                <c:pt idx="10">
                  <c:v>13.675000000000001</c:v>
                </c:pt>
                <c:pt idx="11">
                  <c:v>15.414999999999999</c:v>
                </c:pt>
                <c:pt idx="12">
                  <c:v>30.115000000000002</c:v>
                </c:pt>
                <c:pt idx="13">
                  <c:v>31.49</c:v>
                </c:pt>
                <c:pt idx="14">
                  <c:v>29.575000000000003</c:v>
                </c:pt>
                <c:pt idx="15">
                  <c:v>24.365000000000002</c:v>
                </c:pt>
                <c:pt idx="16">
                  <c:v>32.064999999999998</c:v>
                </c:pt>
                <c:pt idx="17">
                  <c:v>26.535</c:v>
                </c:pt>
                <c:pt idx="18">
                  <c:v>44.08</c:v>
                </c:pt>
                <c:pt idx="19">
                  <c:v>97.07</c:v>
                </c:pt>
                <c:pt idx="20">
                  <c:v>95.585000000000008</c:v>
                </c:pt>
                <c:pt idx="21">
                  <c:v>131.2699999999999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scaling>
        <c:delete val="0"/>
        <c:axPos val="r"/>
        <c:numFmt formatCode="General"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B$2:$B$23</c:f>
              <c:numCache>
                <c:formatCode>General</c:formatCode>
                <c:ptCount val="22"/>
                <c:pt idx="0">
                  <c:v>13</c:v>
                </c:pt>
                <c:pt idx="1">
                  <c:v>1</c:v>
                </c:pt>
                <c:pt idx="2">
                  <c:v>5</c:v>
                </c:pt>
                <c:pt idx="3">
                  <c:v>14</c:v>
                </c:pt>
                <c:pt idx="4">
                  <c:v>123</c:v>
                </c:pt>
                <c:pt idx="5">
                  <c:v>0</c:v>
                </c:pt>
                <c:pt idx="6">
                  <c:v>0</c:v>
                </c:pt>
                <c:pt idx="7">
                  <c:v>0</c:v>
                </c:pt>
                <c:pt idx="8">
                  <c:v>13</c:v>
                </c:pt>
                <c:pt idx="9">
                  <c:v>0</c:v>
                </c:pt>
                <c:pt idx="10">
                  <c:v>0</c:v>
                </c:pt>
                <c:pt idx="11">
                  <c:v>0</c:v>
                </c:pt>
                <c:pt idx="12">
                  <c:v>0</c:v>
                </c:pt>
                <c:pt idx="13">
                  <c:v>0</c:v>
                </c:pt>
                <c:pt idx="14">
                  <c:v>0</c:v>
                </c:pt>
                <c:pt idx="15">
                  <c:v>1</c:v>
                </c:pt>
                <c:pt idx="16">
                  <c:v>0</c:v>
                </c:pt>
                <c:pt idx="17">
                  <c:v>8</c:v>
                </c:pt>
                <c:pt idx="18">
                  <c:v>0</c:v>
                </c:pt>
                <c:pt idx="19">
                  <c:v>0</c:v>
                </c:pt>
                <c:pt idx="20">
                  <c:v>6</c:v>
                </c:pt>
                <c:pt idx="21">
                  <c:v>0</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C$2:$C$23</c:f>
              <c:numCache>
                <c:formatCode>General</c:formatCode>
                <c:ptCount val="22"/>
                <c:pt idx="0">
                  <c:v>1.1399999999999999</c:v>
                </c:pt>
                <c:pt idx="1">
                  <c:v>2.15</c:v>
                </c:pt>
                <c:pt idx="2">
                  <c:v>4.46</c:v>
                </c:pt>
                <c:pt idx="3">
                  <c:v>4</c:v>
                </c:pt>
                <c:pt idx="4">
                  <c:v>3.95</c:v>
                </c:pt>
                <c:pt idx="5">
                  <c:v>6.9</c:v>
                </c:pt>
                <c:pt idx="6">
                  <c:v>7.58</c:v>
                </c:pt>
                <c:pt idx="7">
                  <c:v>8.27</c:v>
                </c:pt>
                <c:pt idx="8">
                  <c:v>10.92</c:v>
                </c:pt>
                <c:pt idx="9">
                  <c:v>18.79</c:v>
                </c:pt>
                <c:pt idx="10">
                  <c:v>15.11</c:v>
                </c:pt>
                <c:pt idx="11">
                  <c:v>16.61</c:v>
                </c:pt>
                <c:pt idx="12">
                  <c:v>39</c:v>
                </c:pt>
                <c:pt idx="13">
                  <c:v>38.69</c:v>
                </c:pt>
                <c:pt idx="14">
                  <c:v>34.56</c:v>
                </c:pt>
                <c:pt idx="15">
                  <c:v>22.36</c:v>
                </c:pt>
                <c:pt idx="16">
                  <c:v>35.590000000000003</c:v>
                </c:pt>
                <c:pt idx="17">
                  <c:v>22.95</c:v>
                </c:pt>
                <c:pt idx="18">
                  <c:v>45.5</c:v>
                </c:pt>
                <c:pt idx="19">
                  <c:v>101.71</c:v>
                </c:pt>
                <c:pt idx="20">
                  <c:v>96.37</c:v>
                </c:pt>
                <c:pt idx="21">
                  <c:v>144.0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D$2:$D$23</c:f>
              <c:numCache>
                <c:formatCode>General</c:formatCode>
                <c:ptCount val="22"/>
                <c:pt idx="0">
                  <c:v>1.28</c:v>
                </c:pt>
                <c:pt idx="1">
                  <c:v>1.78</c:v>
                </c:pt>
                <c:pt idx="2">
                  <c:v>3.46</c:v>
                </c:pt>
                <c:pt idx="3">
                  <c:v>3.85</c:v>
                </c:pt>
                <c:pt idx="4">
                  <c:v>3.95</c:v>
                </c:pt>
                <c:pt idx="5">
                  <c:v>4.05</c:v>
                </c:pt>
                <c:pt idx="6">
                  <c:v>4.84</c:v>
                </c:pt>
                <c:pt idx="7">
                  <c:v>8.89</c:v>
                </c:pt>
                <c:pt idx="8">
                  <c:v>9.8800000000000008</c:v>
                </c:pt>
                <c:pt idx="9">
                  <c:v>11.85</c:v>
                </c:pt>
                <c:pt idx="10">
                  <c:v>12.24</c:v>
                </c:pt>
                <c:pt idx="11">
                  <c:v>14.22</c:v>
                </c:pt>
                <c:pt idx="12">
                  <c:v>21.23</c:v>
                </c:pt>
                <c:pt idx="13">
                  <c:v>24.29</c:v>
                </c:pt>
                <c:pt idx="14">
                  <c:v>24.59</c:v>
                </c:pt>
                <c:pt idx="15">
                  <c:v>26.37</c:v>
                </c:pt>
                <c:pt idx="16">
                  <c:v>28.54</c:v>
                </c:pt>
                <c:pt idx="17">
                  <c:v>30.12</c:v>
                </c:pt>
                <c:pt idx="18">
                  <c:v>42.66</c:v>
                </c:pt>
                <c:pt idx="19">
                  <c:v>92.43</c:v>
                </c:pt>
                <c:pt idx="20">
                  <c:v>94.8</c:v>
                </c:pt>
                <c:pt idx="21">
                  <c:v>11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rPr lang="en-US"/>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rPr lang="en-US"/>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E$2:$E$23</c:f>
              <c:numCache>
                <c:formatCode>General</c:formatCode>
                <c:ptCount val="22"/>
                <c:pt idx="0">
                  <c:v>1.21</c:v>
                </c:pt>
                <c:pt idx="1">
                  <c:v>1.9649999999999999</c:v>
                </c:pt>
                <c:pt idx="2">
                  <c:v>3.96</c:v>
                </c:pt>
                <c:pt idx="3">
                  <c:v>3.9249999999999998</c:v>
                </c:pt>
                <c:pt idx="4">
                  <c:v>3.95</c:v>
                </c:pt>
                <c:pt idx="5">
                  <c:v>5.4749999999999996</c:v>
                </c:pt>
                <c:pt idx="6">
                  <c:v>6.21</c:v>
                </c:pt>
                <c:pt idx="7">
                  <c:v>8.58</c:v>
                </c:pt>
                <c:pt idx="8">
                  <c:v>10.4</c:v>
                </c:pt>
                <c:pt idx="9">
                  <c:v>15.32</c:v>
                </c:pt>
                <c:pt idx="10">
                  <c:v>13.675000000000001</c:v>
                </c:pt>
                <c:pt idx="11">
                  <c:v>15.414999999999999</c:v>
                </c:pt>
                <c:pt idx="12">
                  <c:v>30.115000000000002</c:v>
                </c:pt>
                <c:pt idx="13">
                  <c:v>31.49</c:v>
                </c:pt>
                <c:pt idx="14">
                  <c:v>29.575000000000003</c:v>
                </c:pt>
                <c:pt idx="15">
                  <c:v>24.365000000000002</c:v>
                </c:pt>
                <c:pt idx="16">
                  <c:v>32.064999999999998</c:v>
                </c:pt>
                <c:pt idx="17">
                  <c:v>26.535</c:v>
                </c:pt>
                <c:pt idx="18">
                  <c:v>44.08</c:v>
                </c:pt>
                <c:pt idx="19">
                  <c:v>97.07</c:v>
                </c:pt>
                <c:pt idx="20">
                  <c:v>95.585000000000008</c:v>
                </c:pt>
                <c:pt idx="21">
                  <c:v>131.2699999999999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scaling>
        <c:delete val="0"/>
        <c:axPos val="r"/>
        <c:numFmt formatCode="General"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B$2:$B$23</c:f>
              <c:numCache>
                <c:formatCode>General</c:formatCode>
                <c:ptCount val="22"/>
                <c:pt idx="0">
                  <c:v>13</c:v>
                </c:pt>
                <c:pt idx="1">
                  <c:v>1</c:v>
                </c:pt>
                <c:pt idx="2">
                  <c:v>5</c:v>
                </c:pt>
                <c:pt idx="3">
                  <c:v>14</c:v>
                </c:pt>
                <c:pt idx="4">
                  <c:v>123</c:v>
                </c:pt>
                <c:pt idx="5">
                  <c:v>0</c:v>
                </c:pt>
                <c:pt idx="6">
                  <c:v>0</c:v>
                </c:pt>
                <c:pt idx="7">
                  <c:v>0</c:v>
                </c:pt>
                <c:pt idx="8">
                  <c:v>13</c:v>
                </c:pt>
                <c:pt idx="9">
                  <c:v>0</c:v>
                </c:pt>
                <c:pt idx="10">
                  <c:v>0</c:v>
                </c:pt>
                <c:pt idx="11">
                  <c:v>0</c:v>
                </c:pt>
                <c:pt idx="12">
                  <c:v>0</c:v>
                </c:pt>
                <c:pt idx="13">
                  <c:v>0</c:v>
                </c:pt>
                <c:pt idx="14">
                  <c:v>0</c:v>
                </c:pt>
                <c:pt idx="15">
                  <c:v>1</c:v>
                </c:pt>
                <c:pt idx="16">
                  <c:v>0</c:v>
                </c:pt>
                <c:pt idx="17">
                  <c:v>8</c:v>
                </c:pt>
                <c:pt idx="18">
                  <c:v>0</c:v>
                </c:pt>
                <c:pt idx="19">
                  <c:v>0</c:v>
                </c:pt>
                <c:pt idx="20">
                  <c:v>6</c:v>
                </c:pt>
                <c:pt idx="21">
                  <c:v>0</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C$2:$C$23</c:f>
              <c:numCache>
                <c:formatCode>General</c:formatCode>
                <c:ptCount val="22"/>
                <c:pt idx="0">
                  <c:v>1.1399999999999999</c:v>
                </c:pt>
                <c:pt idx="1">
                  <c:v>2.15</c:v>
                </c:pt>
                <c:pt idx="2">
                  <c:v>4.46</c:v>
                </c:pt>
                <c:pt idx="3">
                  <c:v>4</c:v>
                </c:pt>
                <c:pt idx="4">
                  <c:v>3.95</c:v>
                </c:pt>
                <c:pt idx="5">
                  <c:v>6.9</c:v>
                </c:pt>
                <c:pt idx="6">
                  <c:v>7.58</c:v>
                </c:pt>
                <c:pt idx="7">
                  <c:v>8.27</c:v>
                </c:pt>
                <c:pt idx="8">
                  <c:v>10.92</c:v>
                </c:pt>
                <c:pt idx="9">
                  <c:v>18.79</c:v>
                </c:pt>
                <c:pt idx="10">
                  <c:v>15.11</c:v>
                </c:pt>
                <c:pt idx="11">
                  <c:v>16.61</c:v>
                </c:pt>
                <c:pt idx="12">
                  <c:v>39</c:v>
                </c:pt>
                <c:pt idx="13">
                  <c:v>38.69</c:v>
                </c:pt>
                <c:pt idx="14">
                  <c:v>34.56</c:v>
                </c:pt>
                <c:pt idx="15">
                  <c:v>22.36</c:v>
                </c:pt>
                <c:pt idx="16">
                  <c:v>35.590000000000003</c:v>
                </c:pt>
                <c:pt idx="17">
                  <c:v>22.95</c:v>
                </c:pt>
                <c:pt idx="18">
                  <c:v>45.5</c:v>
                </c:pt>
                <c:pt idx="19">
                  <c:v>101.71</c:v>
                </c:pt>
                <c:pt idx="20">
                  <c:v>96.37</c:v>
                </c:pt>
                <c:pt idx="21">
                  <c:v>144.0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D$2:$D$23</c:f>
              <c:numCache>
                <c:formatCode>General</c:formatCode>
                <c:ptCount val="22"/>
                <c:pt idx="0">
                  <c:v>1.28</c:v>
                </c:pt>
                <c:pt idx="1">
                  <c:v>1.78</c:v>
                </c:pt>
                <c:pt idx="2">
                  <c:v>3.46</c:v>
                </c:pt>
                <c:pt idx="3">
                  <c:v>3.85</c:v>
                </c:pt>
                <c:pt idx="4">
                  <c:v>3.95</c:v>
                </c:pt>
                <c:pt idx="5">
                  <c:v>4.05</c:v>
                </c:pt>
                <c:pt idx="6">
                  <c:v>4.84</c:v>
                </c:pt>
                <c:pt idx="7">
                  <c:v>8.89</c:v>
                </c:pt>
                <c:pt idx="8">
                  <c:v>9.8800000000000008</c:v>
                </c:pt>
                <c:pt idx="9">
                  <c:v>11.85</c:v>
                </c:pt>
                <c:pt idx="10">
                  <c:v>12.24</c:v>
                </c:pt>
                <c:pt idx="11">
                  <c:v>14.22</c:v>
                </c:pt>
                <c:pt idx="12">
                  <c:v>21.23</c:v>
                </c:pt>
                <c:pt idx="13">
                  <c:v>24.29</c:v>
                </c:pt>
                <c:pt idx="14">
                  <c:v>24.59</c:v>
                </c:pt>
                <c:pt idx="15">
                  <c:v>26.37</c:v>
                </c:pt>
                <c:pt idx="16">
                  <c:v>28.54</c:v>
                </c:pt>
                <c:pt idx="17">
                  <c:v>30.12</c:v>
                </c:pt>
                <c:pt idx="18">
                  <c:v>42.66</c:v>
                </c:pt>
                <c:pt idx="19">
                  <c:v>92.43</c:v>
                </c:pt>
                <c:pt idx="20">
                  <c:v>94.8</c:v>
                </c:pt>
                <c:pt idx="21">
                  <c:v>11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rPr lang="en-US"/>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rPr lang="en-US"/>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E$2:$E$23</c:f>
              <c:numCache>
                <c:formatCode>General</c:formatCode>
                <c:ptCount val="22"/>
                <c:pt idx="0">
                  <c:v>1.21</c:v>
                </c:pt>
                <c:pt idx="1">
                  <c:v>1.9649999999999999</c:v>
                </c:pt>
                <c:pt idx="2">
                  <c:v>3.96</c:v>
                </c:pt>
                <c:pt idx="3">
                  <c:v>3.9249999999999998</c:v>
                </c:pt>
                <c:pt idx="4">
                  <c:v>3.95</c:v>
                </c:pt>
                <c:pt idx="5">
                  <c:v>5.4749999999999996</c:v>
                </c:pt>
                <c:pt idx="6">
                  <c:v>6.21</c:v>
                </c:pt>
                <c:pt idx="7">
                  <c:v>8.58</c:v>
                </c:pt>
                <c:pt idx="8">
                  <c:v>10.4</c:v>
                </c:pt>
                <c:pt idx="9">
                  <c:v>15.32</c:v>
                </c:pt>
                <c:pt idx="10">
                  <c:v>13.675000000000001</c:v>
                </c:pt>
                <c:pt idx="11">
                  <c:v>15.414999999999999</c:v>
                </c:pt>
                <c:pt idx="12">
                  <c:v>30.115000000000002</c:v>
                </c:pt>
                <c:pt idx="13">
                  <c:v>31.49</c:v>
                </c:pt>
                <c:pt idx="14">
                  <c:v>29.575000000000003</c:v>
                </c:pt>
                <c:pt idx="15">
                  <c:v>24.365000000000002</c:v>
                </c:pt>
                <c:pt idx="16">
                  <c:v>32.064999999999998</c:v>
                </c:pt>
                <c:pt idx="17">
                  <c:v>26.535</c:v>
                </c:pt>
                <c:pt idx="18">
                  <c:v>44.08</c:v>
                </c:pt>
                <c:pt idx="19">
                  <c:v>97.07</c:v>
                </c:pt>
                <c:pt idx="20">
                  <c:v>95.585000000000008</c:v>
                </c:pt>
                <c:pt idx="21">
                  <c:v>131.2699999999999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scaling>
        <c:delete val="0"/>
        <c:axPos val="r"/>
        <c:numFmt formatCode="General"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B$2:$B$23</c:f>
              <c:numCache>
                <c:formatCode>General</c:formatCode>
                <c:ptCount val="22"/>
                <c:pt idx="0">
                  <c:v>13</c:v>
                </c:pt>
                <c:pt idx="1">
                  <c:v>1</c:v>
                </c:pt>
                <c:pt idx="2">
                  <c:v>5</c:v>
                </c:pt>
                <c:pt idx="3">
                  <c:v>14</c:v>
                </c:pt>
                <c:pt idx="4">
                  <c:v>123</c:v>
                </c:pt>
                <c:pt idx="5">
                  <c:v>0</c:v>
                </c:pt>
                <c:pt idx="6">
                  <c:v>0</c:v>
                </c:pt>
                <c:pt idx="7">
                  <c:v>0</c:v>
                </c:pt>
                <c:pt idx="8">
                  <c:v>13</c:v>
                </c:pt>
                <c:pt idx="9">
                  <c:v>0</c:v>
                </c:pt>
                <c:pt idx="10">
                  <c:v>0</c:v>
                </c:pt>
                <c:pt idx="11">
                  <c:v>0</c:v>
                </c:pt>
                <c:pt idx="12">
                  <c:v>0</c:v>
                </c:pt>
                <c:pt idx="13">
                  <c:v>0</c:v>
                </c:pt>
                <c:pt idx="14">
                  <c:v>0</c:v>
                </c:pt>
                <c:pt idx="15">
                  <c:v>1</c:v>
                </c:pt>
                <c:pt idx="16">
                  <c:v>0</c:v>
                </c:pt>
                <c:pt idx="17">
                  <c:v>8</c:v>
                </c:pt>
                <c:pt idx="18">
                  <c:v>0</c:v>
                </c:pt>
                <c:pt idx="19">
                  <c:v>0</c:v>
                </c:pt>
                <c:pt idx="20">
                  <c:v>6</c:v>
                </c:pt>
                <c:pt idx="21">
                  <c:v>0</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C$2:$C$23</c:f>
              <c:numCache>
                <c:formatCode>General</c:formatCode>
                <c:ptCount val="22"/>
                <c:pt idx="0">
                  <c:v>1.1399999999999999</c:v>
                </c:pt>
                <c:pt idx="1">
                  <c:v>2.15</c:v>
                </c:pt>
                <c:pt idx="2">
                  <c:v>4.46</c:v>
                </c:pt>
                <c:pt idx="3">
                  <c:v>4</c:v>
                </c:pt>
                <c:pt idx="4">
                  <c:v>3.95</c:v>
                </c:pt>
                <c:pt idx="5">
                  <c:v>6.9</c:v>
                </c:pt>
                <c:pt idx="6">
                  <c:v>7.58</c:v>
                </c:pt>
                <c:pt idx="7">
                  <c:v>8.27</c:v>
                </c:pt>
                <c:pt idx="8">
                  <c:v>10.92</c:v>
                </c:pt>
                <c:pt idx="9">
                  <c:v>18.79</c:v>
                </c:pt>
                <c:pt idx="10">
                  <c:v>15.11</c:v>
                </c:pt>
                <c:pt idx="11">
                  <c:v>16.61</c:v>
                </c:pt>
                <c:pt idx="12">
                  <c:v>39</c:v>
                </c:pt>
                <c:pt idx="13">
                  <c:v>38.69</c:v>
                </c:pt>
                <c:pt idx="14">
                  <c:v>34.56</c:v>
                </c:pt>
                <c:pt idx="15">
                  <c:v>22.36</c:v>
                </c:pt>
                <c:pt idx="16">
                  <c:v>35.590000000000003</c:v>
                </c:pt>
                <c:pt idx="17">
                  <c:v>22.95</c:v>
                </c:pt>
                <c:pt idx="18">
                  <c:v>45.5</c:v>
                </c:pt>
                <c:pt idx="19">
                  <c:v>101.71</c:v>
                </c:pt>
                <c:pt idx="20">
                  <c:v>96.37</c:v>
                </c:pt>
                <c:pt idx="21">
                  <c:v>144.0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D$2:$D$23</c:f>
              <c:numCache>
                <c:formatCode>General</c:formatCode>
                <c:ptCount val="22"/>
                <c:pt idx="0">
                  <c:v>1.28</c:v>
                </c:pt>
                <c:pt idx="1">
                  <c:v>1.78</c:v>
                </c:pt>
                <c:pt idx="2">
                  <c:v>3.46</c:v>
                </c:pt>
                <c:pt idx="3">
                  <c:v>3.85</c:v>
                </c:pt>
                <c:pt idx="4">
                  <c:v>3.95</c:v>
                </c:pt>
                <c:pt idx="5">
                  <c:v>4.05</c:v>
                </c:pt>
                <c:pt idx="6">
                  <c:v>4.84</c:v>
                </c:pt>
                <c:pt idx="7">
                  <c:v>8.89</c:v>
                </c:pt>
                <c:pt idx="8">
                  <c:v>9.8800000000000008</c:v>
                </c:pt>
                <c:pt idx="9">
                  <c:v>11.85</c:v>
                </c:pt>
                <c:pt idx="10">
                  <c:v>12.24</c:v>
                </c:pt>
                <c:pt idx="11">
                  <c:v>14.22</c:v>
                </c:pt>
                <c:pt idx="12">
                  <c:v>21.23</c:v>
                </c:pt>
                <c:pt idx="13">
                  <c:v>24.29</c:v>
                </c:pt>
                <c:pt idx="14">
                  <c:v>24.59</c:v>
                </c:pt>
                <c:pt idx="15">
                  <c:v>26.37</c:v>
                </c:pt>
                <c:pt idx="16">
                  <c:v>28.54</c:v>
                </c:pt>
                <c:pt idx="17">
                  <c:v>30.12</c:v>
                </c:pt>
                <c:pt idx="18">
                  <c:v>42.66</c:v>
                </c:pt>
                <c:pt idx="19">
                  <c:v>92.43</c:v>
                </c:pt>
                <c:pt idx="20">
                  <c:v>94.8</c:v>
                </c:pt>
                <c:pt idx="21">
                  <c:v>11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rPr lang="en-US"/>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rPr lang="en-US"/>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E$2:$E$23</c:f>
              <c:numCache>
                <c:formatCode>General</c:formatCode>
                <c:ptCount val="22"/>
                <c:pt idx="0">
                  <c:v>1.21</c:v>
                </c:pt>
                <c:pt idx="1">
                  <c:v>1.9649999999999999</c:v>
                </c:pt>
                <c:pt idx="2">
                  <c:v>3.96</c:v>
                </c:pt>
                <c:pt idx="3">
                  <c:v>3.9249999999999998</c:v>
                </c:pt>
                <c:pt idx="4">
                  <c:v>3.95</c:v>
                </c:pt>
                <c:pt idx="5">
                  <c:v>5.4749999999999996</c:v>
                </c:pt>
                <c:pt idx="6">
                  <c:v>6.21</c:v>
                </c:pt>
                <c:pt idx="7">
                  <c:v>8.58</c:v>
                </c:pt>
                <c:pt idx="8">
                  <c:v>10.4</c:v>
                </c:pt>
                <c:pt idx="9">
                  <c:v>15.32</c:v>
                </c:pt>
                <c:pt idx="10">
                  <c:v>13.675000000000001</c:v>
                </c:pt>
                <c:pt idx="11">
                  <c:v>15.414999999999999</c:v>
                </c:pt>
                <c:pt idx="12">
                  <c:v>30.115000000000002</c:v>
                </c:pt>
                <c:pt idx="13">
                  <c:v>31.49</c:v>
                </c:pt>
                <c:pt idx="14">
                  <c:v>29.575000000000003</c:v>
                </c:pt>
                <c:pt idx="15">
                  <c:v>24.365000000000002</c:v>
                </c:pt>
                <c:pt idx="16">
                  <c:v>32.064999999999998</c:v>
                </c:pt>
                <c:pt idx="17">
                  <c:v>26.535</c:v>
                </c:pt>
                <c:pt idx="18">
                  <c:v>44.08</c:v>
                </c:pt>
                <c:pt idx="19">
                  <c:v>97.07</c:v>
                </c:pt>
                <c:pt idx="20">
                  <c:v>95.585000000000008</c:v>
                </c:pt>
                <c:pt idx="21">
                  <c:v>131.2699999999999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scaling>
        <c:delete val="0"/>
        <c:axPos val="r"/>
        <c:numFmt formatCode="General"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B$2:$B$23</c:f>
              <c:numCache>
                <c:formatCode>General</c:formatCode>
                <c:ptCount val="22"/>
                <c:pt idx="0">
                  <c:v>13</c:v>
                </c:pt>
                <c:pt idx="1">
                  <c:v>1</c:v>
                </c:pt>
                <c:pt idx="2">
                  <c:v>5</c:v>
                </c:pt>
                <c:pt idx="3">
                  <c:v>14</c:v>
                </c:pt>
                <c:pt idx="4">
                  <c:v>123</c:v>
                </c:pt>
                <c:pt idx="5">
                  <c:v>0</c:v>
                </c:pt>
                <c:pt idx="6">
                  <c:v>0</c:v>
                </c:pt>
                <c:pt idx="7">
                  <c:v>0</c:v>
                </c:pt>
                <c:pt idx="8">
                  <c:v>13</c:v>
                </c:pt>
                <c:pt idx="9">
                  <c:v>0</c:v>
                </c:pt>
                <c:pt idx="10">
                  <c:v>0</c:v>
                </c:pt>
                <c:pt idx="11">
                  <c:v>0</c:v>
                </c:pt>
                <c:pt idx="12">
                  <c:v>0</c:v>
                </c:pt>
                <c:pt idx="13">
                  <c:v>0</c:v>
                </c:pt>
                <c:pt idx="14">
                  <c:v>0</c:v>
                </c:pt>
                <c:pt idx="15">
                  <c:v>1</c:v>
                </c:pt>
                <c:pt idx="16">
                  <c:v>0</c:v>
                </c:pt>
                <c:pt idx="17">
                  <c:v>8</c:v>
                </c:pt>
                <c:pt idx="18">
                  <c:v>0</c:v>
                </c:pt>
                <c:pt idx="19">
                  <c:v>0</c:v>
                </c:pt>
                <c:pt idx="20">
                  <c:v>6</c:v>
                </c:pt>
                <c:pt idx="21">
                  <c:v>0</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C$2:$C$23</c:f>
              <c:numCache>
                <c:formatCode>General</c:formatCode>
                <c:ptCount val="22"/>
                <c:pt idx="0">
                  <c:v>1.1399999999999999</c:v>
                </c:pt>
                <c:pt idx="1">
                  <c:v>2.15</c:v>
                </c:pt>
                <c:pt idx="2">
                  <c:v>4.46</c:v>
                </c:pt>
                <c:pt idx="3">
                  <c:v>4</c:v>
                </c:pt>
                <c:pt idx="4">
                  <c:v>3.95</c:v>
                </c:pt>
                <c:pt idx="5">
                  <c:v>6.9</c:v>
                </c:pt>
                <c:pt idx="6">
                  <c:v>7.58</c:v>
                </c:pt>
                <c:pt idx="7">
                  <c:v>8.27</c:v>
                </c:pt>
                <c:pt idx="8">
                  <c:v>10.92</c:v>
                </c:pt>
                <c:pt idx="9">
                  <c:v>18.79</c:v>
                </c:pt>
                <c:pt idx="10">
                  <c:v>15.11</c:v>
                </c:pt>
                <c:pt idx="11">
                  <c:v>16.61</c:v>
                </c:pt>
                <c:pt idx="12">
                  <c:v>39</c:v>
                </c:pt>
                <c:pt idx="13">
                  <c:v>38.69</c:v>
                </c:pt>
                <c:pt idx="14">
                  <c:v>34.56</c:v>
                </c:pt>
                <c:pt idx="15">
                  <c:v>22.36</c:v>
                </c:pt>
                <c:pt idx="16">
                  <c:v>35.590000000000003</c:v>
                </c:pt>
                <c:pt idx="17">
                  <c:v>22.95</c:v>
                </c:pt>
                <c:pt idx="18">
                  <c:v>45.5</c:v>
                </c:pt>
                <c:pt idx="19">
                  <c:v>101.71</c:v>
                </c:pt>
                <c:pt idx="20">
                  <c:v>96.37</c:v>
                </c:pt>
                <c:pt idx="21">
                  <c:v>144.0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D$2:$D$23</c:f>
              <c:numCache>
                <c:formatCode>General</c:formatCode>
                <c:ptCount val="22"/>
                <c:pt idx="0">
                  <c:v>1.28</c:v>
                </c:pt>
                <c:pt idx="1">
                  <c:v>1.78</c:v>
                </c:pt>
                <c:pt idx="2">
                  <c:v>3.46</c:v>
                </c:pt>
                <c:pt idx="3">
                  <c:v>3.85</c:v>
                </c:pt>
                <c:pt idx="4">
                  <c:v>3.95</c:v>
                </c:pt>
                <c:pt idx="5">
                  <c:v>4.05</c:v>
                </c:pt>
                <c:pt idx="6">
                  <c:v>4.84</c:v>
                </c:pt>
                <c:pt idx="7">
                  <c:v>8.89</c:v>
                </c:pt>
                <c:pt idx="8">
                  <c:v>9.8800000000000008</c:v>
                </c:pt>
                <c:pt idx="9">
                  <c:v>11.85</c:v>
                </c:pt>
                <c:pt idx="10">
                  <c:v>12.24</c:v>
                </c:pt>
                <c:pt idx="11">
                  <c:v>14.22</c:v>
                </c:pt>
                <c:pt idx="12">
                  <c:v>21.23</c:v>
                </c:pt>
                <c:pt idx="13">
                  <c:v>24.29</c:v>
                </c:pt>
                <c:pt idx="14">
                  <c:v>24.59</c:v>
                </c:pt>
                <c:pt idx="15">
                  <c:v>26.37</c:v>
                </c:pt>
                <c:pt idx="16">
                  <c:v>28.54</c:v>
                </c:pt>
                <c:pt idx="17">
                  <c:v>30.12</c:v>
                </c:pt>
                <c:pt idx="18">
                  <c:v>42.66</c:v>
                </c:pt>
                <c:pt idx="19">
                  <c:v>92.43</c:v>
                </c:pt>
                <c:pt idx="20">
                  <c:v>94.8</c:v>
                </c:pt>
                <c:pt idx="21">
                  <c:v>11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rPr lang="en-US"/>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rPr lang="en-US"/>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E$2:$E$23</c:f>
              <c:numCache>
                <c:formatCode>General</c:formatCode>
                <c:ptCount val="22"/>
                <c:pt idx="0">
                  <c:v>1.21</c:v>
                </c:pt>
                <c:pt idx="1">
                  <c:v>1.9649999999999999</c:v>
                </c:pt>
                <c:pt idx="2">
                  <c:v>3.96</c:v>
                </c:pt>
                <c:pt idx="3">
                  <c:v>3.9249999999999998</c:v>
                </c:pt>
                <c:pt idx="4">
                  <c:v>3.95</c:v>
                </c:pt>
                <c:pt idx="5">
                  <c:v>5.4749999999999996</c:v>
                </c:pt>
                <c:pt idx="6">
                  <c:v>6.21</c:v>
                </c:pt>
                <c:pt idx="7">
                  <c:v>8.58</c:v>
                </c:pt>
                <c:pt idx="8">
                  <c:v>10.4</c:v>
                </c:pt>
                <c:pt idx="9">
                  <c:v>15.32</c:v>
                </c:pt>
                <c:pt idx="10">
                  <c:v>13.675000000000001</c:v>
                </c:pt>
                <c:pt idx="11">
                  <c:v>15.414999999999999</c:v>
                </c:pt>
                <c:pt idx="12">
                  <c:v>30.115000000000002</c:v>
                </c:pt>
                <c:pt idx="13">
                  <c:v>31.49</c:v>
                </c:pt>
                <c:pt idx="14">
                  <c:v>29.575000000000003</c:v>
                </c:pt>
                <c:pt idx="15">
                  <c:v>24.365000000000002</c:v>
                </c:pt>
                <c:pt idx="16">
                  <c:v>32.064999999999998</c:v>
                </c:pt>
                <c:pt idx="17">
                  <c:v>26.535</c:v>
                </c:pt>
                <c:pt idx="18">
                  <c:v>44.08</c:v>
                </c:pt>
                <c:pt idx="19">
                  <c:v>97.07</c:v>
                </c:pt>
                <c:pt idx="20">
                  <c:v>95.585000000000008</c:v>
                </c:pt>
                <c:pt idx="21">
                  <c:v>131.2699999999999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scaling>
        <c:delete val="0"/>
        <c:axPos val="r"/>
        <c:numFmt formatCode="General"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B$2:$B$23</c:f>
              <c:numCache>
                <c:formatCode>General</c:formatCode>
                <c:ptCount val="22"/>
                <c:pt idx="0">
                  <c:v>13</c:v>
                </c:pt>
                <c:pt idx="1">
                  <c:v>1</c:v>
                </c:pt>
                <c:pt idx="2">
                  <c:v>5</c:v>
                </c:pt>
                <c:pt idx="3">
                  <c:v>14</c:v>
                </c:pt>
                <c:pt idx="4">
                  <c:v>123</c:v>
                </c:pt>
                <c:pt idx="5">
                  <c:v>0</c:v>
                </c:pt>
                <c:pt idx="6">
                  <c:v>0</c:v>
                </c:pt>
                <c:pt idx="7">
                  <c:v>0</c:v>
                </c:pt>
                <c:pt idx="8">
                  <c:v>13</c:v>
                </c:pt>
                <c:pt idx="9">
                  <c:v>0</c:v>
                </c:pt>
                <c:pt idx="10">
                  <c:v>0</c:v>
                </c:pt>
                <c:pt idx="11">
                  <c:v>0</c:v>
                </c:pt>
                <c:pt idx="12">
                  <c:v>0</c:v>
                </c:pt>
                <c:pt idx="13">
                  <c:v>0</c:v>
                </c:pt>
                <c:pt idx="14">
                  <c:v>0</c:v>
                </c:pt>
                <c:pt idx="15">
                  <c:v>1</c:v>
                </c:pt>
                <c:pt idx="16">
                  <c:v>0</c:v>
                </c:pt>
                <c:pt idx="17">
                  <c:v>8</c:v>
                </c:pt>
                <c:pt idx="18">
                  <c:v>0</c:v>
                </c:pt>
                <c:pt idx="19">
                  <c:v>0</c:v>
                </c:pt>
                <c:pt idx="20">
                  <c:v>6</c:v>
                </c:pt>
                <c:pt idx="21">
                  <c:v>0</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C$2:$C$23</c:f>
              <c:numCache>
                <c:formatCode>General</c:formatCode>
                <c:ptCount val="22"/>
                <c:pt idx="0">
                  <c:v>1.1399999999999999</c:v>
                </c:pt>
                <c:pt idx="1">
                  <c:v>2.15</c:v>
                </c:pt>
                <c:pt idx="2">
                  <c:v>4.46</c:v>
                </c:pt>
                <c:pt idx="3">
                  <c:v>4</c:v>
                </c:pt>
                <c:pt idx="4">
                  <c:v>3.95</c:v>
                </c:pt>
                <c:pt idx="5">
                  <c:v>6.9</c:v>
                </c:pt>
                <c:pt idx="6">
                  <c:v>7.58</c:v>
                </c:pt>
                <c:pt idx="7">
                  <c:v>8.27</c:v>
                </c:pt>
                <c:pt idx="8">
                  <c:v>10.92</c:v>
                </c:pt>
                <c:pt idx="9">
                  <c:v>18.79</c:v>
                </c:pt>
                <c:pt idx="10">
                  <c:v>15.11</c:v>
                </c:pt>
                <c:pt idx="11">
                  <c:v>16.61</c:v>
                </c:pt>
                <c:pt idx="12">
                  <c:v>39</c:v>
                </c:pt>
                <c:pt idx="13">
                  <c:v>38.69</c:v>
                </c:pt>
                <c:pt idx="14">
                  <c:v>34.56</c:v>
                </c:pt>
                <c:pt idx="15">
                  <c:v>22.36</c:v>
                </c:pt>
                <c:pt idx="16">
                  <c:v>35.590000000000003</c:v>
                </c:pt>
                <c:pt idx="17">
                  <c:v>22.95</c:v>
                </c:pt>
                <c:pt idx="18">
                  <c:v>45.5</c:v>
                </c:pt>
                <c:pt idx="19">
                  <c:v>101.71</c:v>
                </c:pt>
                <c:pt idx="20">
                  <c:v>96.37</c:v>
                </c:pt>
                <c:pt idx="21">
                  <c:v>144.0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D$2:$D$23</c:f>
              <c:numCache>
                <c:formatCode>General</c:formatCode>
                <c:ptCount val="22"/>
                <c:pt idx="0">
                  <c:v>1.28</c:v>
                </c:pt>
                <c:pt idx="1">
                  <c:v>1.78</c:v>
                </c:pt>
                <c:pt idx="2">
                  <c:v>3.46</c:v>
                </c:pt>
                <c:pt idx="3">
                  <c:v>3.85</c:v>
                </c:pt>
                <c:pt idx="4">
                  <c:v>3.95</c:v>
                </c:pt>
                <c:pt idx="5">
                  <c:v>4.05</c:v>
                </c:pt>
                <c:pt idx="6">
                  <c:v>4.84</c:v>
                </c:pt>
                <c:pt idx="7">
                  <c:v>8.89</c:v>
                </c:pt>
                <c:pt idx="8">
                  <c:v>9.8800000000000008</c:v>
                </c:pt>
                <c:pt idx="9">
                  <c:v>11.85</c:v>
                </c:pt>
                <c:pt idx="10">
                  <c:v>12.24</c:v>
                </c:pt>
                <c:pt idx="11">
                  <c:v>14.22</c:v>
                </c:pt>
                <c:pt idx="12">
                  <c:v>21.23</c:v>
                </c:pt>
                <c:pt idx="13">
                  <c:v>24.29</c:v>
                </c:pt>
                <c:pt idx="14">
                  <c:v>24.59</c:v>
                </c:pt>
                <c:pt idx="15">
                  <c:v>26.37</c:v>
                </c:pt>
                <c:pt idx="16">
                  <c:v>28.54</c:v>
                </c:pt>
                <c:pt idx="17">
                  <c:v>30.12</c:v>
                </c:pt>
                <c:pt idx="18">
                  <c:v>42.66</c:v>
                </c:pt>
                <c:pt idx="19">
                  <c:v>92.43</c:v>
                </c:pt>
                <c:pt idx="20">
                  <c:v>94.8</c:v>
                </c:pt>
                <c:pt idx="21">
                  <c:v>11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rPr lang="en-US"/>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rPr lang="en-US"/>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E$2:$E$23</c:f>
              <c:numCache>
                <c:formatCode>General</c:formatCode>
                <c:ptCount val="22"/>
                <c:pt idx="0">
                  <c:v>1.21</c:v>
                </c:pt>
                <c:pt idx="1">
                  <c:v>1.9649999999999999</c:v>
                </c:pt>
                <c:pt idx="2">
                  <c:v>3.96</c:v>
                </c:pt>
                <c:pt idx="3">
                  <c:v>3.9249999999999998</c:v>
                </c:pt>
                <c:pt idx="4">
                  <c:v>3.95</c:v>
                </c:pt>
                <c:pt idx="5">
                  <c:v>5.4749999999999996</c:v>
                </c:pt>
                <c:pt idx="6">
                  <c:v>6.21</c:v>
                </c:pt>
                <c:pt idx="7">
                  <c:v>8.58</c:v>
                </c:pt>
                <c:pt idx="8">
                  <c:v>10.4</c:v>
                </c:pt>
                <c:pt idx="9">
                  <c:v>15.32</c:v>
                </c:pt>
                <c:pt idx="10">
                  <c:v>13.675000000000001</c:v>
                </c:pt>
                <c:pt idx="11">
                  <c:v>15.414999999999999</c:v>
                </c:pt>
                <c:pt idx="12">
                  <c:v>30.115000000000002</c:v>
                </c:pt>
                <c:pt idx="13">
                  <c:v>31.49</c:v>
                </c:pt>
                <c:pt idx="14">
                  <c:v>29.575000000000003</c:v>
                </c:pt>
                <c:pt idx="15">
                  <c:v>24.365000000000002</c:v>
                </c:pt>
                <c:pt idx="16">
                  <c:v>32.064999999999998</c:v>
                </c:pt>
                <c:pt idx="17">
                  <c:v>26.535</c:v>
                </c:pt>
                <c:pt idx="18">
                  <c:v>44.08</c:v>
                </c:pt>
                <c:pt idx="19">
                  <c:v>97.07</c:v>
                </c:pt>
                <c:pt idx="20">
                  <c:v>95.585000000000008</c:v>
                </c:pt>
                <c:pt idx="21">
                  <c:v>131.2699999999999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scaling>
        <c:delete val="0"/>
        <c:axPos val="r"/>
        <c:numFmt formatCode="General"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B$2:$B$23</c:f>
              <c:numCache>
                <c:formatCode>General</c:formatCode>
                <c:ptCount val="22"/>
                <c:pt idx="0">
                  <c:v>13</c:v>
                </c:pt>
                <c:pt idx="1">
                  <c:v>1</c:v>
                </c:pt>
                <c:pt idx="2">
                  <c:v>5</c:v>
                </c:pt>
                <c:pt idx="3">
                  <c:v>14</c:v>
                </c:pt>
                <c:pt idx="4">
                  <c:v>123</c:v>
                </c:pt>
                <c:pt idx="5">
                  <c:v>0</c:v>
                </c:pt>
                <c:pt idx="6">
                  <c:v>0</c:v>
                </c:pt>
                <c:pt idx="7">
                  <c:v>0</c:v>
                </c:pt>
                <c:pt idx="8">
                  <c:v>13</c:v>
                </c:pt>
                <c:pt idx="9">
                  <c:v>0</c:v>
                </c:pt>
                <c:pt idx="10">
                  <c:v>0</c:v>
                </c:pt>
                <c:pt idx="11">
                  <c:v>0</c:v>
                </c:pt>
                <c:pt idx="12">
                  <c:v>0</c:v>
                </c:pt>
                <c:pt idx="13">
                  <c:v>0</c:v>
                </c:pt>
                <c:pt idx="14">
                  <c:v>0</c:v>
                </c:pt>
                <c:pt idx="15">
                  <c:v>1</c:v>
                </c:pt>
                <c:pt idx="16">
                  <c:v>0</c:v>
                </c:pt>
                <c:pt idx="17">
                  <c:v>8</c:v>
                </c:pt>
                <c:pt idx="18">
                  <c:v>0</c:v>
                </c:pt>
                <c:pt idx="19">
                  <c:v>0</c:v>
                </c:pt>
                <c:pt idx="20">
                  <c:v>6</c:v>
                </c:pt>
                <c:pt idx="21">
                  <c:v>0</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C$2:$C$23</c:f>
              <c:numCache>
                <c:formatCode>General</c:formatCode>
                <c:ptCount val="22"/>
                <c:pt idx="0">
                  <c:v>1.1399999999999999</c:v>
                </c:pt>
                <c:pt idx="1">
                  <c:v>2.15</c:v>
                </c:pt>
                <c:pt idx="2">
                  <c:v>4.46</c:v>
                </c:pt>
                <c:pt idx="3">
                  <c:v>4</c:v>
                </c:pt>
                <c:pt idx="4">
                  <c:v>3.95</c:v>
                </c:pt>
                <c:pt idx="5">
                  <c:v>6.9</c:v>
                </c:pt>
                <c:pt idx="6">
                  <c:v>7.58</c:v>
                </c:pt>
                <c:pt idx="7">
                  <c:v>8.27</c:v>
                </c:pt>
                <c:pt idx="8">
                  <c:v>10.92</c:v>
                </c:pt>
                <c:pt idx="9">
                  <c:v>18.79</c:v>
                </c:pt>
                <c:pt idx="10">
                  <c:v>15.11</c:v>
                </c:pt>
                <c:pt idx="11">
                  <c:v>16.61</c:v>
                </c:pt>
                <c:pt idx="12">
                  <c:v>39</c:v>
                </c:pt>
                <c:pt idx="13">
                  <c:v>38.69</c:v>
                </c:pt>
                <c:pt idx="14">
                  <c:v>34.56</c:v>
                </c:pt>
                <c:pt idx="15">
                  <c:v>22.36</c:v>
                </c:pt>
                <c:pt idx="16">
                  <c:v>35.590000000000003</c:v>
                </c:pt>
                <c:pt idx="17">
                  <c:v>22.95</c:v>
                </c:pt>
                <c:pt idx="18">
                  <c:v>45.5</c:v>
                </c:pt>
                <c:pt idx="19">
                  <c:v>101.71</c:v>
                </c:pt>
                <c:pt idx="20">
                  <c:v>96.37</c:v>
                </c:pt>
                <c:pt idx="21">
                  <c:v>144.0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D$2:$D$23</c:f>
              <c:numCache>
                <c:formatCode>General</c:formatCode>
                <c:ptCount val="22"/>
                <c:pt idx="0">
                  <c:v>1.28</c:v>
                </c:pt>
                <c:pt idx="1">
                  <c:v>1.78</c:v>
                </c:pt>
                <c:pt idx="2">
                  <c:v>3.46</c:v>
                </c:pt>
                <c:pt idx="3">
                  <c:v>3.85</c:v>
                </c:pt>
                <c:pt idx="4">
                  <c:v>3.95</c:v>
                </c:pt>
                <c:pt idx="5">
                  <c:v>4.05</c:v>
                </c:pt>
                <c:pt idx="6">
                  <c:v>4.84</c:v>
                </c:pt>
                <c:pt idx="7">
                  <c:v>8.89</c:v>
                </c:pt>
                <c:pt idx="8">
                  <c:v>9.8800000000000008</c:v>
                </c:pt>
                <c:pt idx="9">
                  <c:v>11.85</c:v>
                </c:pt>
                <c:pt idx="10">
                  <c:v>12.24</c:v>
                </c:pt>
                <c:pt idx="11">
                  <c:v>14.22</c:v>
                </c:pt>
                <c:pt idx="12">
                  <c:v>21.23</c:v>
                </c:pt>
                <c:pt idx="13">
                  <c:v>24.29</c:v>
                </c:pt>
                <c:pt idx="14">
                  <c:v>24.59</c:v>
                </c:pt>
                <c:pt idx="15">
                  <c:v>26.37</c:v>
                </c:pt>
                <c:pt idx="16">
                  <c:v>28.54</c:v>
                </c:pt>
                <c:pt idx="17">
                  <c:v>30.12</c:v>
                </c:pt>
                <c:pt idx="18">
                  <c:v>42.66</c:v>
                </c:pt>
                <c:pt idx="19">
                  <c:v>92.43</c:v>
                </c:pt>
                <c:pt idx="20">
                  <c:v>94.8</c:v>
                </c:pt>
                <c:pt idx="21">
                  <c:v>11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rPr lang="en-US"/>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rPr lang="en-US"/>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E$2:$E$23</c:f>
              <c:numCache>
                <c:formatCode>General</c:formatCode>
                <c:ptCount val="22"/>
                <c:pt idx="0">
                  <c:v>1.21</c:v>
                </c:pt>
                <c:pt idx="1">
                  <c:v>1.9649999999999999</c:v>
                </c:pt>
                <c:pt idx="2">
                  <c:v>3.96</c:v>
                </c:pt>
                <c:pt idx="3">
                  <c:v>3.9249999999999998</c:v>
                </c:pt>
                <c:pt idx="4">
                  <c:v>3.95</c:v>
                </c:pt>
                <c:pt idx="5">
                  <c:v>5.4749999999999996</c:v>
                </c:pt>
                <c:pt idx="6">
                  <c:v>6.21</c:v>
                </c:pt>
                <c:pt idx="7">
                  <c:v>8.58</c:v>
                </c:pt>
                <c:pt idx="8">
                  <c:v>10.4</c:v>
                </c:pt>
                <c:pt idx="9">
                  <c:v>15.32</c:v>
                </c:pt>
                <c:pt idx="10">
                  <c:v>13.675000000000001</c:v>
                </c:pt>
                <c:pt idx="11">
                  <c:v>15.414999999999999</c:v>
                </c:pt>
                <c:pt idx="12">
                  <c:v>30.115000000000002</c:v>
                </c:pt>
                <c:pt idx="13">
                  <c:v>31.49</c:v>
                </c:pt>
                <c:pt idx="14">
                  <c:v>29.575000000000003</c:v>
                </c:pt>
                <c:pt idx="15">
                  <c:v>24.365000000000002</c:v>
                </c:pt>
                <c:pt idx="16">
                  <c:v>32.064999999999998</c:v>
                </c:pt>
                <c:pt idx="17">
                  <c:v>26.535</c:v>
                </c:pt>
                <c:pt idx="18">
                  <c:v>44.08</c:v>
                </c:pt>
                <c:pt idx="19">
                  <c:v>97.07</c:v>
                </c:pt>
                <c:pt idx="20">
                  <c:v>95.585000000000008</c:v>
                </c:pt>
                <c:pt idx="21">
                  <c:v>131.2699999999999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scaling>
        <c:delete val="0"/>
        <c:axPos val="r"/>
        <c:numFmt formatCode="General"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B$2:$B$23</c:f>
              <c:numCache>
                <c:formatCode>General</c:formatCode>
                <c:ptCount val="22"/>
                <c:pt idx="0">
                  <c:v>13</c:v>
                </c:pt>
                <c:pt idx="1">
                  <c:v>1</c:v>
                </c:pt>
                <c:pt idx="2">
                  <c:v>5</c:v>
                </c:pt>
                <c:pt idx="3">
                  <c:v>14</c:v>
                </c:pt>
                <c:pt idx="4">
                  <c:v>123</c:v>
                </c:pt>
                <c:pt idx="5">
                  <c:v>0</c:v>
                </c:pt>
                <c:pt idx="6">
                  <c:v>0</c:v>
                </c:pt>
                <c:pt idx="7">
                  <c:v>0</c:v>
                </c:pt>
                <c:pt idx="8">
                  <c:v>13</c:v>
                </c:pt>
                <c:pt idx="9">
                  <c:v>0</c:v>
                </c:pt>
                <c:pt idx="10">
                  <c:v>0</c:v>
                </c:pt>
                <c:pt idx="11">
                  <c:v>0</c:v>
                </c:pt>
                <c:pt idx="12">
                  <c:v>0</c:v>
                </c:pt>
                <c:pt idx="13">
                  <c:v>0</c:v>
                </c:pt>
                <c:pt idx="14">
                  <c:v>0</c:v>
                </c:pt>
                <c:pt idx="15">
                  <c:v>1</c:v>
                </c:pt>
                <c:pt idx="16">
                  <c:v>0</c:v>
                </c:pt>
                <c:pt idx="17">
                  <c:v>8</c:v>
                </c:pt>
                <c:pt idx="18">
                  <c:v>0</c:v>
                </c:pt>
                <c:pt idx="19">
                  <c:v>0</c:v>
                </c:pt>
                <c:pt idx="20">
                  <c:v>6</c:v>
                </c:pt>
                <c:pt idx="21">
                  <c:v>0</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C$2:$C$23</c:f>
              <c:numCache>
                <c:formatCode>General</c:formatCode>
                <c:ptCount val="22"/>
                <c:pt idx="0">
                  <c:v>1.1399999999999999</c:v>
                </c:pt>
                <c:pt idx="1">
                  <c:v>2.15</c:v>
                </c:pt>
                <c:pt idx="2">
                  <c:v>4.46</c:v>
                </c:pt>
                <c:pt idx="3">
                  <c:v>4</c:v>
                </c:pt>
                <c:pt idx="4">
                  <c:v>3.95</c:v>
                </c:pt>
                <c:pt idx="5">
                  <c:v>6.9</c:v>
                </c:pt>
                <c:pt idx="6">
                  <c:v>7.58</c:v>
                </c:pt>
                <c:pt idx="7">
                  <c:v>8.27</c:v>
                </c:pt>
                <c:pt idx="8">
                  <c:v>10.92</c:v>
                </c:pt>
                <c:pt idx="9">
                  <c:v>18.79</c:v>
                </c:pt>
                <c:pt idx="10">
                  <c:v>15.11</c:v>
                </c:pt>
                <c:pt idx="11">
                  <c:v>16.61</c:v>
                </c:pt>
                <c:pt idx="12">
                  <c:v>39</c:v>
                </c:pt>
                <c:pt idx="13">
                  <c:v>38.69</c:v>
                </c:pt>
                <c:pt idx="14">
                  <c:v>34.56</c:v>
                </c:pt>
                <c:pt idx="15">
                  <c:v>22.36</c:v>
                </c:pt>
                <c:pt idx="16">
                  <c:v>35.590000000000003</c:v>
                </c:pt>
                <c:pt idx="17">
                  <c:v>22.95</c:v>
                </c:pt>
                <c:pt idx="18">
                  <c:v>45.5</c:v>
                </c:pt>
                <c:pt idx="19">
                  <c:v>101.71</c:v>
                </c:pt>
                <c:pt idx="20">
                  <c:v>96.37</c:v>
                </c:pt>
                <c:pt idx="21">
                  <c:v>144.0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D$2:$D$23</c:f>
              <c:numCache>
                <c:formatCode>General</c:formatCode>
                <c:ptCount val="22"/>
                <c:pt idx="0">
                  <c:v>1.28</c:v>
                </c:pt>
                <c:pt idx="1">
                  <c:v>1.78</c:v>
                </c:pt>
                <c:pt idx="2">
                  <c:v>3.46</c:v>
                </c:pt>
                <c:pt idx="3">
                  <c:v>3.85</c:v>
                </c:pt>
                <c:pt idx="4">
                  <c:v>3.95</c:v>
                </c:pt>
                <c:pt idx="5">
                  <c:v>4.05</c:v>
                </c:pt>
                <c:pt idx="6">
                  <c:v>4.84</c:v>
                </c:pt>
                <c:pt idx="7">
                  <c:v>8.89</c:v>
                </c:pt>
                <c:pt idx="8">
                  <c:v>9.8800000000000008</c:v>
                </c:pt>
                <c:pt idx="9">
                  <c:v>11.85</c:v>
                </c:pt>
                <c:pt idx="10">
                  <c:v>12.24</c:v>
                </c:pt>
                <c:pt idx="11">
                  <c:v>14.22</c:v>
                </c:pt>
                <c:pt idx="12">
                  <c:v>21.23</c:v>
                </c:pt>
                <c:pt idx="13">
                  <c:v>24.29</c:v>
                </c:pt>
                <c:pt idx="14">
                  <c:v>24.59</c:v>
                </c:pt>
                <c:pt idx="15">
                  <c:v>26.37</c:v>
                </c:pt>
                <c:pt idx="16">
                  <c:v>28.54</c:v>
                </c:pt>
                <c:pt idx="17">
                  <c:v>30.12</c:v>
                </c:pt>
                <c:pt idx="18">
                  <c:v>42.66</c:v>
                </c:pt>
                <c:pt idx="19">
                  <c:v>92.43</c:v>
                </c:pt>
                <c:pt idx="20">
                  <c:v>94.8</c:v>
                </c:pt>
                <c:pt idx="21">
                  <c:v>11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rPr lang="en-US"/>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rPr lang="en-US"/>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E$2:$E$23</c:f>
              <c:numCache>
                <c:formatCode>General</c:formatCode>
                <c:ptCount val="22"/>
                <c:pt idx="0">
                  <c:v>1.21</c:v>
                </c:pt>
                <c:pt idx="1">
                  <c:v>1.9649999999999999</c:v>
                </c:pt>
                <c:pt idx="2">
                  <c:v>3.96</c:v>
                </c:pt>
                <c:pt idx="3">
                  <c:v>3.9249999999999998</c:v>
                </c:pt>
                <c:pt idx="4">
                  <c:v>3.95</c:v>
                </c:pt>
                <c:pt idx="5">
                  <c:v>5.4749999999999996</c:v>
                </c:pt>
                <c:pt idx="6">
                  <c:v>6.21</c:v>
                </c:pt>
                <c:pt idx="7">
                  <c:v>8.58</c:v>
                </c:pt>
                <c:pt idx="8">
                  <c:v>10.4</c:v>
                </c:pt>
                <c:pt idx="9">
                  <c:v>15.32</c:v>
                </c:pt>
                <c:pt idx="10">
                  <c:v>13.675000000000001</c:v>
                </c:pt>
                <c:pt idx="11">
                  <c:v>15.414999999999999</c:v>
                </c:pt>
                <c:pt idx="12">
                  <c:v>30.115000000000002</c:v>
                </c:pt>
                <c:pt idx="13">
                  <c:v>31.49</c:v>
                </c:pt>
                <c:pt idx="14">
                  <c:v>29.575000000000003</c:v>
                </c:pt>
                <c:pt idx="15">
                  <c:v>24.365000000000002</c:v>
                </c:pt>
                <c:pt idx="16">
                  <c:v>32.064999999999998</c:v>
                </c:pt>
                <c:pt idx="17">
                  <c:v>26.535</c:v>
                </c:pt>
                <c:pt idx="18">
                  <c:v>44.08</c:v>
                </c:pt>
                <c:pt idx="19">
                  <c:v>97.07</c:v>
                </c:pt>
                <c:pt idx="20">
                  <c:v>95.585000000000008</c:v>
                </c:pt>
                <c:pt idx="21">
                  <c:v>131.2699999999999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scaling>
        <c:delete val="0"/>
        <c:axPos val="r"/>
        <c:numFmt formatCode="General"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B$2:$B$23</c:f>
              <c:numCache>
                <c:formatCode>General</c:formatCode>
                <c:ptCount val="22"/>
                <c:pt idx="0">
                  <c:v>13</c:v>
                </c:pt>
                <c:pt idx="1">
                  <c:v>1</c:v>
                </c:pt>
                <c:pt idx="2">
                  <c:v>5</c:v>
                </c:pt>
                <c:pt idx="3">
                  <c:v>14</c:v>
                </c:pt>
                <c:pt idx="4">
                  <c:v>123</c:v>
                </c:pt>
                <c:pt idx="5">
                  <c:v>0</c:v>
                </c:pt>
                <c:pt idx="6">
                  <c:v>0</c:v>
                </c:pt>
                <c:pt idx="7">
                  <c:v>0</c:v>
                </c:pt>
                <c:pt idx="8">
                  <c:v>13</c:v>
                </c:pt>
                <c:pt idx="9">
                  <c:v>0</c:v>
                </c:pt>
                <c:pt idx="10">
                  <c:v>0</c:v>
                </c:pt>
                <c:pt idx="11">
                  <c:v>0</c:v>
                </c:pt>
                <c:pt idx="12">
                  <c:v>0</c:v>
                </c:pt>
                <c:pt idx="13">
                  <c:v>0</c:v>
                </c:pt>
                <c:pt idx="14">
                  <c:v>0</c:v>
                </c:pt>
                <c:pt idx="15">
                  <c:v>1</c:v>
                </c:pt>
                <c:pt idx="16">
                  <c:v>0</c:v>
                </c:pt>
                <c:pt idx="17">
                  <c:v>8</c:v>
                </c:pt>
                <c:pt idx="18">
                  <c:v>0</c:v>
                </c:pt>
                <c:pt idx="19">
                  <c:v>0</c:v>
                </c:pt>
                <c:pt idx="20">
                  <c:v>6</c:v>
                </c:pt>
                <c:pt idx="21">
                  <c:v>0</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C$2:$C$23</c:f>
              <c:numCache>
                <c:formatCode>General</c:formatCode>
                <c:ptCount val="22"/>
                <c:pt idx="0">
                  <c:v>1.1399999999999999</c:v>
                </c:pt>
                <c:pt idx="1">
                  <c:v>2.15</c:v>
                </c:pt>
                <c:pt idx="2">
                  <c:v>4.46</c:v>
                </c:pt>
                <c:pt idx="3">
                  <c:v>4</c:v>
                </c:pt>
                <c:pt idx="4">
                  <c:v>3.95</c:v>
                </c:pt>
                <c:pt idx="5">
                  <c:v>6.9</c:v>
                </c:pt>
                <c:pt idx="6">
                  <c:v>7.58</c:v>
                </c:pt>
                <c:pt idx="7">
                  <c:v>8.27</c:v>
                </c:pt>
                <c:pt idx="8">
                  <c:v>10.92</c:v>
                </c:pt>
                <c:pt idx="9">
                  <c:v>18.79</c:v>
                </c:pt>
                <c:pt idx="10">
                  <c:v>15.11</c:v>
                </c:pt>
                <c:pt idx="11">
                  <c:v>16.61</c:v>
                </c:pt>
                <c:pt idx="12">
                  <c:v>39</c:v>
                </c:pt>
                <c:pt idx="13">
                  <c:v>38.69</c:v>
                </c:pt>
                <c:pt idx="14">
                  <c:v>34.56</c:v>
                </c:pt>
                <c:pt idx="15">
                  <c:v>22.36</c:v>
                </c:pt>
                <c:pt idx="16">
                  <c:v>35.590000000000003</c:v>
                </c:pt>
                <c:pt idx="17">
                  <c:v>22.95</c:v>
                </c:pt>
                <c:pt idx="18">
                  <c:v>45.5</c:v>
                </c:pt>
                <c:pt idx="19">
                  <c:v>101.71</c:v>
                </c:pt>
                <c:pt idx="20">
                  <c:v>96.37</c:v>
                </c:pt>
                <c:pt idx="21">
                  <c:v>144.0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D$2:$D$23</c:f>
              <c:numCache>
                <c:formatCode>General</c:formatCode>
                <c:ptCount val="22"/>
                <c:pt idx="0">
                  <c:v>1.28</c:v>
                </c:pt>
                <c:pt idx="1">
                  <c:v>1.78</c:v>
                </c:pt>
                <c:pt idx="2">
                  <c:v>3.46</c:v>
                </c:pt>
                <c:pt idx="3">
                  <c:v>3.85</c:v>
                </c:pt>
                <c:pt idx="4">
                  <c:v>3.95</c:v>
                </c:pt>
                <c:pt idx="5">
                  <c:v>4.05</c:v>
                </c:pt>
                <c:pt idx="6">
                  <c:v>4.84</c:v>
                </c:pt>
                <c:pt idx="7">
                  <c:v>8.89</c:v>
                </c:pt>
                <c:pt idx="8">
                  <c:v>9.8800000000000008</c:v>
                </c:pt>
                <c:pt idx="9">
                  <c:v>11.85</c:v>
                </c:pt>
                <c:pt idx="10">
                  <c:v>12.24</c:v>
                </c:pt>
                <c:pt idx="11">
                  <c:v>14.22</c:v>
                </c:pt>
                <c:pt idx="12">
                  <c:v>21.23</c:v>
                </c:pt>
                <c:pt idx="13">
                  <c:v>24.29</c:v>
                </c:pt>
                <c:pt idx="14">
                  <c:v>24.59</c:v>
                </c:pt>
                <c:pt idx="15">
                  <c:v>26.37</c:v>
                </c:pt>
                <c:pt idx="16">
                  <c:v>28.54</c:v>
                </c:pt>
                <c:pt idx="17">
                  <c:v>30.12</c:v>
                </c:pt>
                <c:pt idx="18">
                  <c:v>42.66</c:v>
                </c:pt>
                <c:pt idx="19">
                  <c:v>92.43</c:v>
                </c:pt>
                <c:pt idx="20">
                  <c:v>94.8</c:v>
                </c:pt>
                <c:pt idx="21">
                  <c:v>11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rPr lang="en-US"/>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rPr lang="en-US"/>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E$2:$E$23</c:f>
              <c:numCache>
                <c:formatCode>General</c:formatCode>
                <c:ptCount val="22"/>
                <c:pt idx="0">
                  <c:v>1.21</c:v>
                </c:pt>
                <c:pt idx="1">
                  <c:v>1.9649999999999999</c:v>
                </c:pt>
                <c:pt idx="2">
                  <c:v>3.96</c:v>
                </c:pt>
                <c:pt idx="3">
                  <c:v>3.9249999999999998</c:v>
                </c:pt>
                <c:pt idx="4">
                  <c:v>3.95</c:v>
                </c:pt>
                <c:pt idx="5">
                  <c:v>5.4749999999999996</c:v>
                </c:pt>
                <c:pt idx="6">
                  <c:v>6.21</c:v>
                </c:pt>
                <c:pt idx="7">
                  <c:v>8.58</c:v>
                </c:pt>
                <c:pt idx="8">
                  <c:v>10.4</c:v>
                </c:pt>
                <c:pt idx="9">
                  <c:v>15.32</c:v>
                </c:pt>
                <c:pt idx="10">
                  <c:v>13.675000000000001</c:v>
                </c:pt>
                <c:pt idx="11">
                  <c:v>15.414999999999999</c:v>
                </c:pt>
                <c:pt idx="12">
                  <c:v>30.115000000000002</c:v>
                </c:pt>
                <c:pt idx="13">
                  <c:v>31.49</c:v>
                </c:pt>
                <c:pt idx="14">
                  <c:v>29.575000000000003</c:v>
                </c:pt>
                <c:pt idx="15">
                  <c:v>24.365000000000002</c:v>
                </c:pt>
                <c:pt idx="16">
                  <c:v>32.064999999999998</c:v>
                </c:pt>
                <c:pt idx="17">
                  <c:v>26.535</c:v>
                </c:pt>
                <c:pt idx="18">
                  <c:v>44.08</c:v>
                </c:pt>
                <c:pt idx="19">
                  <c:v>97.07</c:v>
                </c:pt>
                <c:pt idx="20">
                  <c:v>95.585000000000008</c:v>
                </c:pt>
                <c:pt idx="21">
                  <c:v>131.2699999999999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scaling>
        <c:delete val="0"/>
        <c:axPos val="r"/>
        <c:numFmt formatCode="General"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B$2:$B$23</c:f>
              <c:numCache>
                <c:formatCode>General</c:formatCode>
                <c:ptCount val="22"/>
                <c:pt idx="0">
                  <c:v>13</c:v>
                </c:pt>
                <c:pt idx="1">
                  <c:v>1</c:v>
                </c:pt>
                <c:pt idx="2">
                  <c:v>5</c:v>
                </c:pt>
                <c:pt idx="3">
                  <c:v>14</c:v>
                </c:pt>
                <c:pt idx="4">
                  <c:v>123</c:v>
                </c:pt>
                <c:pt idx="5">
                  <c:v>0</c:v>
                </c:pt>
                <c:pt idx="6">
                  <c:v>0</c:v>
                </c:pt>
                <c:pt idx="7">
                  <c:v>0</c:v>
                </c:pt>
                <c:pt idx="8">
                  <c:v>13</c:v>
                </c:pt>
                <c:pt idx="9">
                  <c:v>0</c:v>
                </c:pt>
                <c:pt idx="10">
                  <c:v>0</c:v>
                </c:pt>
                <c:pt idx="11">
                  <c:v>0</c:v>
                </c:pt>
                <c:pt idx="12">
                  <c:v>0</c:v>
                </c:pt>
                <c:pt idx="13">
                  <c:v>0</c:v>
                </c:pt>
                <c:pt idx="14">
                  <c:v>0</c:v>
                </c:pt>
                <c:pt idx="15">
                  <c:v>1</c:v>
                </c:pt>
                <c:pt idx="16">
                  <c:v>0</c:v>
                </c:pt>
                <c:pt idx="17">
                  <c:v>8</c:v>
                </c:pt>
                <c:pt idx="18">
                  <c:v>0</c:v>
                </c:pt>
                <c:pt idx="19">
                  <c:v>0</c:v>
                </c:pt>
                <c:pt idx="20">
                  <c:v>6</c:v>
                </c:pt>
                <c:pt idx="21">
                  <c:v>0</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C$2:$C$23</c:f>
              <c:numCache>
                <c:formatCode>General</c:formatCode>
                <c:ptCount val="22"/>
                <c:pt idx="0">
                  <c:v>1.1399999999999999</c:v>
                </c:pt>
                <c:pt idx="1">
                  <c:v>2.15</c:v>
                </c:pt>
                <c:pt idx="2">
                  <c:v>4.46</c:v>
                </c:pt>
                <c:pt idx="3">
                  <c:v>4</c:v>
                </c:pt>
                <c:pt idx="4">
                  <c:v>3.95</c:v>
                </c:pt>
                <c:pt idx="5">
                  <c:v>6.9</c:v>
                </c:pt>
                <c:pt idx="6">
                  <c:v>7.58</c:v>
                </c:pt>
                <c:pt idx="7">
                  <c:v>8.27</c:v>
                </c:pt>
                <c:pt idx="8">
                  <c:v>10.92</c:v>
                </c:pt>
                <c:pt idx="9">
                  <c:v>18.79</c:v>
                </c:pt>
                <c:pt idx="10">
                  <c:v>15.11</c:v>
                </c:pt>
                <c:pt idx="11">
                  <c:v>16.61</c:v>
                </c:pt>
                <c:pt idx="12">
                  <c:v>39</c:v>
                </c:pt>
                <c:pt idx="13">
                  <c:v>38.69</c:v>
                </c:pt>
                <c:pt idx="14">
                  <c:v>34.56</c:v>
                </c:pt>
                <c:pt idx="15">
                  <c:v>22.36</c:v>
                </c:pt>
                <c:pt idx="16">
                  <c:v>35.590000000000003</c:v>
                </c:pt>
                <c:pt idx="17">
                  <c:v>22.95</c:v>
                </c:pt>
                <c:pt idx="18">
                  <c:v>45.5</c:v>
                </c:pt>
                <c:pt idx="19">
                  <c:v>101.71</c:v>
                </c:pt>
                <c:pt idx="20">
                  <c:v>96.37</c:v>
                </c:pt>
                <c:pt idx="21">
                  <c:v>144.0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D$2:$D$23</c:f>
              <c:numCache>
                <c:formatCode>General</c:formatCode>
                <c:ptCount val="22"/>
                <c:pt idx="0">
                  <c:v>1.28</c:v>
                </c:pt>
                <c:pt idx="1">
                  <c:v>1.78</c:v>
                </c:pt>
                <c:pt idx="2">
                  <c:v>3.46</c:v>
                </c:pt>
                <c:pt idx="3">
                  <c:v>3.85</c:v>
                </c:pt>
                <c:pt idx="4">
                  <c:v>3.95</c:v>
                </c:pt>
                <c:pt idx="5">
                  <c:v>4.05</c:v>
                </c:pt>
                <c:pt idx="6">
                  <c:v>4.84</c:v>
                </c:pt>
                <c:pt idx="7">
                  <c:v>8.89</c:v>
                </c:pt>
                <c:pt idx="8">
                  <c:v>9.8800000000000008</c:v>
                </c:pt>
                <c:pt idx="9">
                  <c:v>11.85</c:v>
                </c:pt>
                <c:pt idx="10">
                  <c:v>12.24</c:v>
                </c:pt>
                <c:pt idx="11">
                  <c:v>14.22</c:v>
                </c:pt>
                <c:pt idx="12">
                  <c:v>21.23</c:v>
                </c:pt>
                <c:pt idx="13">
                  <c:v>24.29</c:v>
                </c:pt>
                <c:pt idx="14">
                  <c:v>24.59</c:v>
                </c:pt>
                <c:pt idx="15">
                  <c:v>26.37</c:v>
                </c:pt>
                <c:pt idx="16">
                  <c:v>28.54</c:v>
                </c:pt>
                <c:pt idx="17">
                  <c:v>30.12</c:v>
                </c:pt>
                <c:pt idx="18">
                  <c:v>42.66</c:v>
                </c:pt>
                <c:pt idx="19">
                  <c:v>92.43</c:v>
                </c:pt>
                <c:pt idx="20">
                  <c:v>94.8</c:v>
                </c:pt>
                <c:pt idx="21">
                  <c:v>11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rPr lang="en-US"/>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rPr lang="en-US"/>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E$2:$E$23</c:f>
              <c:numCache>
                <c:formatCode>General</c:formatCode>
                <c:ptCount val="22"/>
                <c:pt idx="0">
                  <c:v>1.21</c:v>
                </c:pt>
                <c:pt idx="1">
                  <c:v>1.9649999999999999</c:v>
                </c:pt>
                <c:pt idx="2">
                  <c:v>3.96</c:v>
                </c:pt>
                <c:pt idx="3">
                  <c:v>3.9249999999999998</c:v>
                </c:pt>
                <c:pt idx="4">
                  <c:v>3.95</c:v>
                </c:pt>
                <c:pt idx="5">
                  <c:v>5.4749999999999996</c:v>
                </c:pt>
                <c:pt idx="6">
                  <c:v>6.21</c:v>
                </c:pt>
                <c:pt idx="7">
                  <c:v>8.58</c:v>
                </c:pt>
                <c:pt idx="8">
                  <c:v>10.4</c:v>
                </c:pt>
                <c:pt idx="9">
                  <c:v>15.32</c:v>
                </c:pt>
                <c:pt idx="10">
                  <c:v>13.675000000000001</c:v>
                </c:pt>
                <c:pt idx="11">
                  <c:v>15.414999999999999</c:v>
                </c:pt>
                <c:pt idx="12">
                  <c:v>30.115000000000002</c:v>
                </c:pt>
                <c:pt idx="13">
                  <c:v>31.49</c:v>
                </c:pt>
                <c:pt idx="14">
                  <c:v>29.575000000000003</c:v>
                </c:pt>
                <c:pt idx="15">
                  <c:v>24.365000000000002</c:v>
                </c:pt>
                <c:pt idx="16">
                  <c:v>32.064999999999998</c:v>
                </c:pt>
                <c:pt idx="17">
                  <c:v>26.535</c:v>
                </c:pt>
                <c:pt idx="18">
                  <c:v>44.08</c:v>
                </c:pt>
                <c:pt idx="19">
                  <c:v>97.07</c:v>
                </c:pt>
                <c:pt idx="20">
                  <c:v>95.585000000000008</c:v>
                </c:pt>
                <c:pt idx="21">
                  <c:v>131.2699999999999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scaling>
        <c:delete val="0"/>
        <c:axPos val="r"/>
        <c:numFmt formatCode="General"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B$2:$B$23</c:f>
              <c:numCache>
                <c:formatCode>General</c:formatCode>
                <c:ptCount val="22"/>
                <c:pt idx="0">
                  <c:v>13</c:v>
                </c:pt>
                <c:pt idx="1">
                  <c:v>1</c:v>
                </c:pt>
                <c:pt idx="2">
                  <c:v>5</c:v>
                </c:pt>
                <c:pt idx="3">
                  <c:v>14</c:v>
                </c:pt>
                <c:pt idx="4">
                  <c:v>123</c:v>
                </c:pt>
                <c:pt idx="5">
                  <c:v>0</c:v>
                </c:pt>
                <c:pt idx="6">
                  <c:v>0</c:v>
                </c:pt>
                <c:pt idx="7">
                  <c:v>0</c:v>
                </c:pt>
                <c:pt idx="8">
                  <c:v>13</c:v>
                </c:pt>
                <c:pt idx="9">
                  <c:v>0</c:v>
                </c:pt>
                <c:pt idx="10">
                  <c:v>0</c:v>
                </c:pt>
                <c:pt idx="11">
                  <c:v>0</c:v>
                </c:pt>
                <c:pt idx="12">
                  <c:v>0</c:v>
                </c:pt>
                <c:pt idx="13">
                  <c:v>0</c:v>
                </c:pt>
                <c:pt idx="14">
                  <c:v>0</c:v>
                </c:pt>
                <c:pt idx="15">
                  <c:v>1</c:v>
                </c:pt>
                <c:pt idx="16">
                  <c:v>0</c:v>
                </c:pt>
                <c:pt idx="17">
                  <c:v>8</c:v>
                </c:pt>
                <c:pt idx="18">
                  <c:v>0</c:v>
                </c:pt>
                <c:pt idx="19">
                  <c:v>0</c:v>
                </c:pt>
                <c:pt idx="20">
                  <c:v>6</c:v>
                </c:pt>
                <c:pt idx="21">
                  <c:v>0</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C$2:$C$23</c:f>
              <c:numCache>
                <c:formatCode>General</c:formatCode>
                <c:ptCount val="22"/>
                <c:pt idx="0">
                  <c:v>1.1399999999999999</c:v>
                </c:pt>
                <c:pt idx="1">
                  <c:v>2.15</c:v>
                </c:pt>
                <c:pt idx="2">
                  <c:v>4.46</c:v>
                </c:pt>
                <c:pt idx="3">
                  <c:v>4</c:v>
                </c:pt>
                <c:pt idx="4">
                  <c:v>3.95</c:v>
                </c:pt>
                <c:pt idx="5">
                  <c:v>6.9</c:v>
                </c:pt>
                <c:pt idx="6">
                  <c:v>7.58</c:v>
                </c:pt>
                <c:pt idx="7">
                  <c:v>8.27</c:v>
                </c:pt>
                <c:pt idx="8">
                  <c:v>10.92</c:v>
                </c:pt>
                <c:pt idx="9">
                  <c:v>18.79</c:v>
                </c:pt>
                <c:pt idx="10">
                  <c:v>15.11</c:v>
                </c:pt>
                <c:pt idx="11">
                  <c:v>16.61</c:v>
                </c:pt>
                <c:pt idx="12">
                  <c:v>39</c:v>
                </c:pt>
                <c:pt idx="13">
                  <c:v>38.69</c:v>
                </c:pt>
                <c:pt idx="14">
                  <c:v>34.56</c:v>
                </c:pt>
                <c:pt idx="15">
                  <c:v>22.36</c:v>
                </c:pt>
                <c:pt idx="16">
                  <c:v>35.590000000000003</c:v>
                </c:pt>
                <c:pt idx="17">
                  <c:v>22.95</c:v>
                </c:pt>
                <c:pt idx="18">
                  <c:v>45.5</c:v>
                </c:pt>
                <c:pt idx="19">
                  <c:v>101.71</c:v>
                </c:pt>
                <c:pt idx="20">
                  <c:v>96.37</c:v>
                </c:pt>
                <c:pt idx="21">
                  <c:v>144.0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D$2:$D$23</c:f>
              <c:numCache>
                <c:formatCode>General</c:formatCode>
                <c:ptCount val="22"/>
                <c:pt idx="0">
                  <c:v>1.28</c:v>
                </c:pt>
                <c:pt idx="1">
                  <c:v>1.78</c:v>
                </c:pt>
                <c:pt idx="2">
                  <c:v>3.46</c:v>
                </c:pt>
                <c:pt idx="3">
                  <c:v>3.85</c:v>
                </c:pt>
                <c:pt idx="4">
                  <c:v>3.95</c:v>
                </c:pt>
                <c:pt idx="5">
                  <c:v>4.05</c:v>
                </c:pt>
                <c:pt idx="6">
                  <c:v>4.84</c:v>
                </c:pt>
                <c:pt idx="7">
                  <c:v>8.89</c:v>
                </c:pt>
                <c:pt idx="8">
                  <c:v>9.8800000000000008</c:v>
                </c:pt>
                <c:pt idx="9">
                  <c:v>11.85</c:v>
                </c:pt>
                <c:pt idx="10">
                  <c:v>12.24</c:v>
                </c:pt>
                <c:pt idx="11">
                  <c:v>14.22</c:v>
                </c:pt>
                <c:pt idx="12">
                  <c:v>21.23</c:v>
                </c:pt>
                <c:pt idx="13">
                  <c:v>24.29</c:v>
                </c:pt>
                <c:pt idx="14">
                  <c:v>24.59</c:v>
                </c:pt>
                <c:pt idx="15">
                  <c:v>26.37</c:v>
                </c:pt>
                <c:pt idx="16">
                  <c:v>28.54</c:v>
                </c:pt>
                <c:pt idx="17">
                  <c:v>30.12</c:v>
                </c:pt>
                <c:pt idx="18">
                  <c:v>42.66</c:v>
                </c:pt>
                <c:pt idx="19">
                  <c:v>92.43</c:v>
                </c:pt>
                <c:pt idx="20">
                  <c:v>94.8</c:v>
                </c:pt>
                <c:pt idx="21">
                  <c:v>11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rPr lang="en-US"/>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rPr lang="en-US"/>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E$2:$E$23</c:f>
              <c:numCache>
                <c:formatCode>General</c:formatCode>
                <c:ptCount val="22"/>
                <c:pt idx="0">
                  <c:v>1.21</c:v>
                </c:pt>
                <c:pt idx="1">
                  <c:v>1.9649999999999999</c:v>
                </c:pt>
                <c:pt idx="2">
                  <c:v>3.96</c:v>
                </c:pt>
                <c:pt idx="3">
                  <c:v>3.9249999999999998</c:v>
                </c:pt>
                <c:pt idx="4">
                  <c:v>3.95</c:v>
                </c:pt>
                <c:pt idx="5">
                  <c:v>5.4749999999999996</c:v>
                </c:pt>
                <c:pt idx="6">
                  <c:v>6.21</c:v>
                </c:pt>
                <c:pt idx="7">
                  <c:v>8.58</c:v>
                </c:pt>
                <c:pt idx="8">
                  <c:v>10.4</c:v>
                </c:pt>
                <c:pt idx="9">
                  <c:v>15.32</c:v>
                </c:pt>
                <c:pt idx="10">
                  <c:v>13.675000000000001</c:v>
                </c:pt>
                <c:pt idx="11">
                  <c:v>15.414999999999999</c:v>
                </c:pt>
                <c:pt idx="12">
                  <c:v>30.115000000000002</c:v>
                </c:pt>
                <c:pt idx="13">
                  <c:v>31.49</c:v>
                </c:pt>
                <c:pt idx="14">
                  <c:v>29.575000000000003</c:v>
                </c:pt>
                <c:pt idx="15">
                  <c:v>24.365000000000002</c:v>
                </c:pt>
                <c:pt idx="16">
                  <c:v>32.064999999999998</c:v>
                </c:pt>
                <c:pt idx="17">
                  <c:v>26.535</c:v>
                </c:pt>
                <c:pt idx="18">
                  <c:v>44.08</c:v>
                </c:pt>
                <c:pt idx="19">
                  <c:v>97.07</c:v>
                </c:pt>
                <c:pt idx="20">
                  <c:v>95.585000000000008</c:v>
                </c:pt>
                <c:pt idx="21">
                  <c:v>131.2699999999999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scaling>
        <c:delete val="0"/>
        <c:axPos val="r"/>
        <c:numFmt formatCode="General"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B$2:$B$23</c:f>
              <c:numCache>
                <c:formatCode>General</c:formatCode>
                <c:ptCount val="22"/>
                <c:pt idx="0">
                  <c:v>13</c:v>
                </c:pt>
                <c:pt idx="1">
                  <c:v>1</c:v>
                </c:pt>
                <c:pt idx="2">
                  <c:v>5</c:v>
                </c:pt>
                <c:pt idx="3">
                  <c:v>14</c:v>
                </c:pt>
                <c:pt idx="4">
                  <c:v>123</c:v>
                </c:pt>
                <c:pt idx="5">
                  <c:v>0</c:v>
                </c:pt>
                <c:pt idx="6">
                  <c:v>0</c:v>
                </c:pt>
                <c:pt idx="7">
                  <c:v>0</c:v>
                </c:pt>
                <c:pt idx="8">
                  <c:v>13</c:v>
                </c:pt>
                <c:pt idx="9">
                  <c:v>0</c:v>
                </c:pt>
                <c:pt idx="10">
                  <c:v>0</c:v>
                </c:pt>
                <c:pt idx="11">
                  <c:v>0</c:v>
                </c:pt>
                <c:pt idx="12">
                  <c:v>0</c:v>
                </c:pt>
                <c:pt idx="13">
                  <c:v>0</c:v>
                </c:pt>
                <c:pt idx="14">
                  <c:v>0</c:v>
                </c:pt>
                <c:pt idx="15">
                  <c:v>1</c:v>
                </c:pt>
                <c:pt idx="16">
                  <c:v>0</c:v>
                </c:pt>
                <c:pt idx="17">
                  <c:v>8</c:v>
                </c:pt>
                <c:pt idx="18">
                  <c:v>0</c:v>
                </c:pt>
                <c:pt idx="19">
                  <c:v>0</c:v>
                </c:pt>
                <c:pt idx="20">
                  <c:v>6</c:v>
                </c:pt>
                <c:pt idx="21">
                  <c:v>0</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C$2:$C$23</c:f>
              <c:numCache>
                <c:formatCode>General</c:formatCode>
                <c:ptCount val="22"/>
                <c:pt idx="0">
                  <c:v>1.1399999999999999</c:v>
                </c:pt>
                <c:pt idx="1">
                  <c:v>2.15</c:v>
                </c:pt>
                <c:pt idx="2">
                  <c:v>4.46</c:v>
                </c:pt>
                <c:pt idx="3">
                  <c:v>4</c:v>
                </c:pt>
                <c:pt idx="4">
                  <c:v>3.95</c:v>
                </c:pt>
                <c:pt idx="5">
                  <c:v>6.9</c:v>
                </c:pt>
                <c:pt idx="6">
                  <c:v>7.58</c:v>
                </c:pt>
                <c:pt idx="7">
                  <c:v>8.27</c:v>
                </c:pt>
                <c:pt idx="8">
                  <c:v>10.92</c:v>
                </c:pt>
                <c:pt idx="9">
                  <c:v>18.79</c:v>
                </c:pt>
                <c:pt idx="10">
                  <c:v>15.11</c:v>
                </c:pt>
                <c:pt idx="11">
                  <c:v>16.61</c:v>
                </c:pt>
                <c:pt idx="12">
                  <c:v>39</c:v>
                </c:pt>
                <c:pt idx="13">
                  <c:v>38.69</c:v>
                </c:pt>
                <c:pt idx="14">
                  <c:v>34.56</c:v>
                </c:pt>
                <c:pt idx="15">
                  <c:v>22.36</c:v>
                </c:pt>
                <c:pt idx="16">
                  <c:v>35.590000000000003</c:v>
                </c:pt>
                <c:pt idx="17">
                  <c:v>22.95</c:v>
                </c:pt>
                <c:pt idx="18">
                  <c:v>45.5</c:v>
                </c:pt>
                <c:pt idx="19">
                  <c:v>101.71</c:v>
                </c:pt>
                <c:pt idx="20">
                  <c:v>96.37</c:v>
                </c:pt>
                <c:pt idx="21">
                  <c:v>144.0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D$2:$D$23</c:f>
              <c:numCache>
                <c:formatCode>General</c:formatCode>
                <c:ptCount val="22"/>
                <c:pt idx="0">
                  <c:v>1.28</c:v>
                </c:pt>
                <c:pt idx="1">
                  <c:v>1.78</c:v>
                </c:pt>
                <c:pt idx="2">
                  <c:v>3.46</c:v>
                </c:pt>
                <c:pt idx="3">
                  <c:v>3.85</c:v>
                </c:pt>
                <c:pt idx="4">
                  <c:v>3.95</c:v>
                </c:pt>
                <c:pt idx="5">
                  <c:v>4.05</c:v>
                </c:pt>
                <c:pt idx="6">
                  <c:v>4.84</c:v>
                </c:pt>
                <c:pt idx="7">
                  <c:v>8.89</c:v>
                </c:pt>
                <c:pt idx="8">
                  <c:v>9.8800000000000008</c:v>
                </c:pt>
                <c:pt idx="9">
                  <c:v>11.85</c:v>
                </c:pt>
                <c:pt idx="10">
                  <c:v>12.24</c:v>
                </c:pt>
                <c:pt idx="11">
                  <c:v>14.22</c:v>
                </c:pt>
                <c:pt idx="12">
                  <c:v>21.23</c:v>
                </c:pt>
                <c:pt idx="13">
                  <c:v>24.29</c:v>
                </c:pt>
                <c:pt idx="14">
                  <c:v>24.59</c:v>
                </c:pt>
                <c:pt idx="15">
                  <c:v>26.37</c:v>
                </c:pt>
                <c:pt idx="16">
                  <c:v>28.54</c:v>
                </c:pt>
                <c:pt idx="17">
                  <c:v>30.12</c:v>
                </c:pt>
                <c:pt idx="18">
                  <c:v>42.66</c:v>
                </c:pt>
                <c:pt idx="19">
                  <c:v>92.43</c:v>
                </c:pt>
                <c:pt idx="20">
                  <c:v>94.8</c:v>
                </c:pt>
                <c:pt idx="21">
                  <c:v>11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rPr lang="en-US"/>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rPr lang="en-US"/>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E$2:$E$23</c:f>
              <c:numCache>
                <c:formatCode>General</c:formatCode>
                <c:ptCount val="22"/>
                <c:pt idx="0">
                  <c:v>1.21</c:v>
                </c:pt>
                <c:pt idx="1">
                  <c:v>1.9649999999999999</c:v>
                </c:pt>
                <c:pt idx="2">
                  <c:v>3.96</c:v>
                </c:pt>
                <c:pt idx="3">
                  <c:v>3.9249999999999998</c:v>
                </c:pt>
                <c:pt idx="4">
                  <c:v>3.95</c:v>
                </c:pt>
                <c:pt idx="5">
                  <c:v>5.4749999999999996</c:v>
                </c:pt>
                <c:pt idx="6">
                  <c:v>6.21</c:v>
                </c:pt>
                <c:pt idx="7">
                  <c:v>8.58</c:v>
                </c:pt>
                <c:pt idx="8">
                  <c:v>10.4</c:v>
                </c:pt>
                <c:pt idx="9">
                  <c:v>15.32</c:v>
                </c:pt>
                <c:pt idx="10">
                  <c:v>13.675000000000001</c:v>
                </c:pt>
                <c:pt idx="11">
                  <c:v>15.414999999999999</c:v>
                </c:pt>
                <c:pt idx="12">
                  <c:v>30.115000000000002</c:v>
                </c:pt>
                <c:pt idx="13">
                  <c:v>31.49</c:v>
                </c:pt>
                <c:pt idx="14">
                  <c:v>29.575000000000003</c:v>
                </c:pt>
                <c:pt idx="15">
                  <c:v>24.365000000000002</c:v>
                </c:pt>
                <c:pt idx="16">
                  <c:v>32.064999999999998</c:v>
                </c:pt>
                <c:pt idx="17">
                  <c:v>26.535</c:v>
                </c:pt>
                <c:pt idx="18">
                  <c:v>44.08</c:v>
                </c:pt>
                <c:pt idx="19">
                  <c:v>97.07</c:v>
                </c:pt>
                <c:pt idx="20">
                  <c:v>95.585000000000008</c:v>
                </c:pt>
                <c:pt idx="21">
                  <c:v>131.2699999999999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scaling>
        <c:delete val="0"/>
        <c:axPos val="r"/>
        <c:numFmt formatCode="General"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B$2:$B$23</c:f>
              <c:numCache>
                <c:formatCode>General</c:formatCode>
                <c:ptCount val="22"/>
                <c:pt idx="0">
                  <c:v>13</c:v>
                </c:pt>
                <c:pt idx="1">
                  <c:v>1</c:v>
                </c:pt>
                <c:pt idx="2">
                  <c:v>5</c:v>
                </c:pt>
                <c:pt idx="3">
                  <c:v>14</c:v>
                </c:pt>
                <c:pt idx="4">
                  <c:v>123</c:v>
                </c:pt>
                <c:pt idx="5">
                  <c:v>0</c:v>
                </c:pt>
                <c:pt idx="6">
                  <c:v>0</c:v>
                </c:pt>
                <c:pt idx="7">
                  <c:v>0</c:v>
                </c:pt>
                <c:pt idx="8">
                  <c:v>13</c:v>
                </c:pt>
                <c:pt idx="9">
                  <c:v>0</c:v>
                </c:pt>
                <c:pt idx="10">
                  <c:v>0</c:v>
                </c:pt>
                <c:pt idx="11">
                  <c:v>0</c:v>
                </c:pt>
                <c:pt idx="12">
                  <c:v>0</c:v>
                </c:pt>
                <c:pt idx="13">
                  <c:v>0</c:v>
                </c:pt>
                <c:pt idx="14">
                  <c:v>0</c:v>
                </c:pt>
                <c:pt idx="15">
                  <c:v>1</c:v>
                </c:pt>
                <c:pt idx="16">
                  <c:v>0</c:v>
                </c:pt>
                <c:pt idx="17">
                  <c:v>8</c:v>
                </c:pt>
                <c:pt idx="18">
                  <c:v>0</c:v>
                </c:pt>
                <c:pt idx="19">
                  <c:v>0</c:v>
                </c:pt>
                <c:pt idx="20">
                  <c:v>6</c:v>
                </c:pt>
                <c:pt idx="21">
                  <c:v>0</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C$2:$C$23</c:f>
              <c:numCache>
                <c:formatCode>General</c:formatCode>
                <c:ptCount val="22"/>
                <c:pt idx="0">
                  <c:v>1.1399999999999999</c:v>
                </c:pt>
                <c:pt idx="1">
                  <c:v>2.15</c:v>
                </c:pt>
                <c:pt idx="2">
                  <c:v>4.46</c:v>
                </c:pt>
                <c:pt idx="3">
                  <c:v>4</c:v>
                </c:pt>
                <c:pt idx="4">
                  <c:v>3.95</c:v>
                </c:pt>
                <c:pt idx="5">
                  <c:v>6.9</c:v>
                </c:pt>
                <c:pt idx="6">
                  <c:v>7.58</c:v>
                </c:pt>
                <c:pt idx="7">
                  <c:v>8.27</c:v>
                </c:pt>
                <c:pt idx="8">
                  <c:v>10.92</c:v>
                </c:pt>
                <c:pt idx="9">
                  <c:v>18.79</c:v>
                </c:pt>
                <c:pt idx="10">
                  <c:v>15.11</c:v>
                </c:pt>
                <c:pt idx="11">
                  <c:v>16.61</c:v>
                </c:pt>
                <c:pt idx="12">
                  <c:v>39</c:v>
                </c:pt>
                <c:pt idx="13">
                  <c:v>38.69</c:v>
                </c:pt>
                <c:pt idx="14">
                  <c:v>34.56</c:v>
                </c:pt>
                <c:pt idx="15">
                  <c:v>22.36</c:v>
                </c:pt>
                <c:pt idx="16">
                  <c:v>35.590000000000003</c:v>
                </c:pt>
                <c:pt idx="17">
                  <c:v>22.95</c:v>
                </c:pt>
                <c:pt idx="18">
                  <c:v>45.5</c:v>
                </c:pt>
                <c:pt idx="19">
                  <c:v>101.71</c:v>
                </c:pt>
                <c:pt idx="20">
                  <c:v>96.37</c:v>
                </c:pt>
                <c:pt idx="21">
                  <c:v>144.0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D$2:$D$23</c:f>
              <c:numCache>
                <c:formatCode>General</c:formatCode>
                <c:ptCount val="22"/>
                <c:pt idx="0">
                  <c:v>1.28</c:v>
                </c:pt>
                <c:pt idx="1">
                  <c:v>1.78</c:v>
                </c:pt>
                <c:pt idx="2">
                  <c:v>3.46</c:v>
                </c:pt>
                <c:pt idx="3">
                  <c:v>3.85</c:v>
                </c:pt>
                <c:pt idx="4">
                  <c:v>3.95</c:v>
                </c:pt>
                <c:pt idx="5">
                  <c:v>4.05</c:v>
                </c:pt>
                <c:pt idx="6">
                  <c:v>4.84</c:v>
                </c:pt>
                <c:pt idx="7">
                  <c:v>8.89</c:v>
                </c:pt>
                <c:pt idx="8">
                  <c:v>9.8800000000000008</c:v>
                </c:pt>
                <c:pt idx="9">
                  <c:v>11.85</c:v>
                </c:pt>
                <c:pt idx="10">
                  <c:v>12.24</c:v>
                </c:pt>
                <c:pt idx="11">
                  <c:v>14.22</c:v>
                </c:pt>
                <c:pt idx="12">
                  <c:v>21.23</c:v>
                </c:pt>
                <c:pt idx="13">
                  <c:v>24.29</c:v>
                </c:pt>
                <c:pt idx="14">
                  <c:v>24.59</c:v>
                </c:pt>
                <c:pt idx="15">
                  <c:v>26.37</c:v>
                </c:pt>
                <c:pt idx="16">
                  <c:v>28.54</c:v>
                </c:pt>
                <c:pt idx="17">
                  <c:v>30.12</c:v>
                </c:pt>
                <c:pt idx="18">
                  <c:v>42.66</c:v>
                </c:pt>
                <c:pt idx="19">
                  <c:v>92.43</c:v>
                </c:pt>
                <c:pt idx="20">
                  <c:v>94.8</c:v>
                </c:pt>
                <c:pt idx="21">
                  <c:v>11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rPr lang="en-US"/>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rPr lang="en-US"/>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E$2:$E$23</c:f>
              <c:numCache>
                <c:formatCode>General</c:formatCode>
                <c:ptCount val="22"/>
                <c:pt idx="0">
                  <c:v>1.21</c:v>
                </c:pt>
                <c:pt idx="1">
                  <c:v>1.9649999999999999</c:v>
                </c:pt>
                <c:pt idx="2">
                  <c:v>3.96</c:v>
                </c:pt>
                <c:pt idx="3">
                  <c:v>3.9249999999999998</c:v>
                </c:pt>
                <c:pt idx="4">
                  <c:v>3.95</c:v>
                </c:pt>
                <c:pt idx="5">
                  <c:v>5.4749999999999996</c:v>
                </c:pt>
                <c:pt idx="6">
                  <c:v>6.21</c:v>
                </c:pt>
                <c:pt idx="7">
                  <c:v>8.58</c:v>
                </c:pt>
                <c:pt idx="8">
                  <c:v>10.4</c:v>
                </c:pt>
                <c:pt idx="9">
                  <c:v>15.32</c:v>
                </c:pt>
                <c:pt idx="10">
                  <c:v>13.675000000000001</c:v>
                </c:pt>
                <c:pt idx="11">
                  <c:v>15.414999999999999</c:v>
                </c:pt>
                <c:pt idx="12">
                  <c:v>30.115000000000002</c:v>
                </c:pt>
                <c:pt idx="13">
                  <c:v>31.49</c:v>
                </c:pt>
                <c:pt idx="14">
                  <c:v>29.575000000000003</c:v>
                </c:pt>
                <c:pt idx="15">
                  <c:v>24.365000000000002</c:v>
                </c:pt>
                <c:pt idx="16">
                  <c:v>32.064999999999998</c:v>
                </c:pt>
                <c:pt idx="17">
                  <c:v>26.535</c:v>
                </c:pt>
                <c:pt idx="18">
                  <c:v>44.08</c:v>
                </c:pt>
                <c:pt idx="19">
                  <c:v>97.07</c:v>
                </c:pt>
                <c:pt idx="20">
                  <c:v>95.585000000000008</c:v>
                </c:pt>
                <c:pt idx="21">
                  <c:v>131.2699999999999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scaling>
        <c:delete val="0"/>
        <c:axPos val="r"/>
        <c:numFmt formatCode="General"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B$2:$B$23</c:f>
              <c:numCache>
                <c:formatCode>General</c:formatCode>
                <c:ptCount val="22"/>
                <c:pt idx="0">
                  <c:v>13</c:v>
                </c:pt>
                <c:pt idx="1">
                  <c:v>1</c:v>
                </c:pt>
                <c:pt idx="2">
                  <c:v>5</c:v>
                </c:pt>
                <c:pt idx="3">
                  <c:v>14</c:v>
                </c:pt>
                <c:pt idx="4">
                  <c:v>123</c:v>
                </c:pt>
                <c:pt idx="5">
                  <c:v>0</c:v>
                </c:pt>
                <c:pt idx="6">
                  <c:v>0</c:v>
                </c:pt>
                <c:pt idx="7">
                  <c:v>0</c:v>
                </c:pt>
                <c:pt idx="8">
                  <c:v>13</c:v>
                </c:pt>
                <c:pt idx="9">
                  <c:v>0</c:v>
                </c:pt>
                <c:pt idx="10">
                  <c:v>0</c:v>
                </c:pt>
                <c:pt idx="11">
                  <c:v>0</c:v>
                </c:pt>
                <c:pt idx="12">
                  <c:v>0</c:v>
                </c:pt>
                <c:pt idx="13">
                  <c:v>0</c:v>
                </c:pt>
                <c:pt idx="14">
                  <c:v>0</c:v>
                </c:pt>
                <c:pt idx="15">
                  <c:v>1</c:v>
                </c:pt>
                <c:pt idx="16">
                  <c:v>0</c:v>
                </c:pt>
                <c:pt idx="17">
                  <c:v>8</c:v>
                </c:pt>
                <c:pt idx="18">
                  <c:v>0</c:v>
                </c:pt>
                <c:pt idx="19">
                  <c:v>0</c:v>
                </c:pt>
                <c:pt idx="20">
                  <c:v>6</c:v>
                </c:pt>
                <c:pt idx="21">
                  <c:v>0</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C$2:$C$23</c:f>
              <c:numCache>
                <c:formatCode>General</c:formatCode>
                <c:ptCount val="22"/>
                <c:pt idx="0">
                  <c:v>1.1399999999999999</c:v>
                </c:pt>
                <c:pt idx="1">
                  <c:v>2.15</c:v>
                </c:pt>
                <c:pt idx="2">
                  <c:v>4.46</c:v>
                </c:pt>
                <c:pt idx="3">
                  <c:v>4</c:v>
                </c:pt>
                <c:pt idx="4">
                  <c:v>3.95</c:v>
                </c:pt>
                <c:pt idx="5">
                  <c:v>6.9</c:v>
                </c:pt>
                <c:pt idx="6">
                  <c:v>7.58</c:v>
                </c:pt>
                <c:pt idx="7">
                  <c:v>8.27</c:v>
                </c:pt>
                <c:pt idx="8">
                  <c:v>10.92</c:v>
                </c:pt>
                <c:pt idx="9">
                  <c:v>18.79</c:v>
                </c:pt>
                <c:pt idx="10">
                  <c:v>15.11</c:v>
                </c:pt>
                <c:pt idx="11">
                  <c:v>16.61</c:v>
                </c:pt>
                <c:pt idx="12">
                  <c:v>39</c:v>
                </c:pt>
                <c:pt idx="13">
                  <c:v>38.69</c:v>
                </c:pt>
                <c:pt idx="14">
                  <c:v>34.56</c:v>
                </c:pt>
                <c:pt idx="15">
                  <c:v>22.36</c:v>
                </c:pt>
                <c:pt idx="16">
                  <c:v>35.590000000000003</c:v>
                </c:pt>
                <c:pt idx="17">
                  <c:v>22.95</c:v>
                </c:pt>
                <c:pt idx="18">
                  <c:v>45.5</c:v>
                </c:pt>
                <c:pt idx="19">
                  <c:v>101.71</c:v>
                </c:pt>
                <c:pt idx="20">
                  <c:v>96.37</c:v>
                </c:pt>
                <c:pt idx="21">
                  <c:v>144.0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D$2:$D$23</c:f>
              <c:numCache>
                <c:formatCode>General</c:formatCode>
                <c:ptCount val="22"/>
                <c:pt idx="0">
                  <c:v>1.28</c:v>
                </c:pt>
                <c:pt idx="1">
                  <c:v>1.78</c:v>
                </c:pt>
                <c:pt idx="2">
                  <c:v>3.46</c:v>
                </c:pt>
                <c:pt idx="3">
                  <c:v>3.85</c:v>
                </c:pt>
                <c:pt idx="4">
                  <c:v>3.95</c:v>
                </c:pt>
                <c:pt idx="5">
                  <c:v>4.05</c:v>
                </c:pt>
                <c:pt idx="6">
                  <c:v>4.84</c:v>
                </c:pt>
                <c:pt idx="7">
                  <c:v>8.89</c:v>
                </c:pt>
                <c:pt idx="8">
                  <c:v>9.8800000000000008</c:v>
                </c:pt>
                <c:pt idx="9">
                  <c:v>11.85</c:v>
                </c:pt>
                <c:pt idx="10">
                  <c:v>12.24</c:v>
                </c:pt>
                <c:pt idx="11">
                  <c:v>14.22</c:v>
                </c:pt>
                <c:pt idx="12">
                  <c:v>21.23</c:v>
                </c:pt>
                <c:pt idx="13">
                  <c:v>24.29</c:v>
                </c:pt>
                <c:pt idx="14">
                  <c:v>24.59</c:v>
                </c:pt>
                <c:pt idx="15">
                  <c:v>26.37</c:v>
                </c:pt>
                <c:pt idx="16">
                  <c:v>28.54</c:v>
                </c:pt>
                <c:pt idx="17">
                  <c:v>30.12</c:v>
                </c:pt>
                <c:pt idx="18">
                  <c:v>42.66</c:v>
                </c:pt>
                <c:pt idx="19">
                  <c:v>92.43</c:v>
                </c:pt>
                <c:pt idx="20">
                  <c:v>94.8</c:v>
                </c:pt>
                <c:pt idx="21">
                  <c:v>11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rPr lang="en-US"/>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rPr lang="en-US"/>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E$2:$E$23</c:f>
              <c:numCache>
                <c:formatCode>General</c:formatCode>
                <c:ptCount val="22"/>
                <c:pt idx="0">
                  <c:v>1.21</c:v>
                </c:pt>
                <c:pt idx="1">
                  <c:v>1.9649999999999999</c:v>
                </c:pt>
                <c:pt idx="2">
                  <c:v>3.96</c:v>
                </c:pt>
                <c:pt idx="3">
                  <c:v>3.9249999999999998</c:v>
                </c:pt>
                <c:pt idx="4">
                  <c:v>3.95</c:v>
                </c:pt>
                <c:pt idx="5">
                  <c:v>5.4749999999999996</c:v>
                </c:pt>
                <c:pt idx="6">
                  <c:v>6.21</c:v>
                </c:pt>
                <c:pt idx="7">
                  <c:v>8.58</c:v>
                </c:pt>
                <c:pt idx="8">
                  <c:v>10.4</c:v>
                </c:pt>
                <c:pt idx="9">
                  <c:v>15.32</c:v>
                </c:pt>
                <c:pt idx="10">
                  <c:v>13.675000000000001</c:v>
                </c:pt>
                <c:pt idx="11">
                  <c:v>15.414999999999999</c:v>
                </c:pt>
                <c:pt idx="12">
                  <c:v>30.115000000000002</c:v>
                </c:pt>
                <c:pt idx="13">
                  <c:v>31.49</c:v>
                </c:pt>
                <c:pt idx="14">
                  <c:v>29.575000000000003</c:v>
                </c:pt>
                <c:pt idx="15">
                  <c:v>24.365000000000002</c:v>
                </c:pt>
                <c:pt idx="16">
                  <c:v>32.064999999999998</c:v>
                </c:pt>
                <c:pt idx="17">
                  <c:v>26.535</c:v>
                </c:pt>
                <c:pt idx="18">
                  <c:v>44.08</c:v>
                </c:pt>
                <c:pt idx="19">
                  <c:v>97.07</c:v>
                </c:pt>
                <c:pt idx="20">
                  <c:v>95.585000000000008</c:v>
                </c:pt>
                <c:pt idx="21">
                  <c:v>131.2699999999999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scaling>
        <c:delete val="0"/>
        <c:axPos val="r"/>
        <c:numFmt formatCode="General"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B$2:$B$23</c:f>
              <c:numCache>
                <c:formatCode>General</c:formatCode>
                <c:ptCount val="22"/>
                <c:pt idx="0">
                  <c:v>13</c:v>
                </c:pt>
                <c:pt idx="1">
                  <c:v>1</c:v>
                </c:pt>
                <c:pt idx="2">
                  <c:v>5</c:v>
                </c:pt>
                <c:pt idx="3">
                  <c:v>14</c:v>
                </c:pt>
                <c:pt idx="4">
                  <c:v>123</c:v>
                </c:pt>
                <c:pt idx="5">
                  <c:v>0</c:v>
                </c:pt>
                <c:pt idx="6">
                  <c:v>0</c:v>
                </c:pt>
                <c:pt idx="7">
                  <c:v>0</c:v>
                </c:pt>
                <c:pt idx="8">
                  <c:v>13</c:v>
                </c:pt>
                <c:pt idx="9">
                  <c:v>0</c:v>
                </c:pt>
                <c:pt idx="10">
                  <c:v>0</c:v>
                </c:pt>
                <c:pt idx="11">
                  <c:v>0</c:v>
                </c:pt>
                <c:pt idx="12">
                  <c:v>0</c:v>
                </c:pt>
                <c:pt idx="13">
                  <c:v>0</c:v>
                </c:pt>
                <c:pt idx="14">
                  <c:v>0</c:v>
                </c:pt>
                <c:pt idx="15">
                  <c:v>1</c:v>
                </c:pt>
                <c:pt idx="16">
                  <c:v>0</c:v>
                </c:pt>
                <c:pt idx="17">
                  <c:v>8</c:v>
                </c:pt>
                <c:pt idx="18">
                  <c:v>0</c:v>
                </c:pt>
                <c:pt idx="19">
                  <c:v>0</c:v>
                </c:pt>
                <c:pt idx="20">
                  <c:v>6</c:v>
                </c:pt>
                <c:pt idx="21">
                  <c:v>0</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C$2:$C$23</c:f>
              <c:numCache>
                <c:formatCode>General</c:formatCode>
                <c:ptCount val="22"/>
                <c:pt idx="0">
                  <c:v>1.1399999999999999</c:v>
                </c:pt>
                <c:pt idx="1">
                  <c:v>2.15</c:v>
                </c:pt>
                <c:pt idx="2">
                  <c:v>4.46</c:v>
                </c:pt>
                <c:pt idx="3">
                  <c:v>4</c:v>
                </c:pt>
                <c:pt idx="4">
                  <c:v>3.95</c:v>
                </c:pt>
                <c:pt idx="5">
                  <c:v>6.9</c:v>
                </c:pt>
                <c:pt idx="6">
                  <c:v>7.58</c:v>
                </c:pt>
                <c:pt idx="7">
                  <c:v>8.27</c:v>
                </c:pt>
                <c:pt idx="8">
                  <c:v>10.92</c:v>
                </c:pt>
                <c:pt idx="9">
                  <c:v>18.79</c:v>
                </c:pt>
                <c:pt idx="10">
                  <c:v>15.11</c:v>
                </c:pt>
                <c:pt idx="11">
                  <c:v>16.61</c:v>
                </c:pt>
                <c:pt idx="12">
                  <c:v>39</c:v>
                </c:pt>
                <c:pt idx="13">
                  <c:v>38.69</c:v>
                </c:pt>
                <c:pt idx="14">
                  <c:v>34.56</c:v>
                </c:pt>
                <c:pt idx="15">
                  <c:v>22.36</c:v>
                </c:pt>
                <c:pt idx="16">
                  <c:v>35.590000000000003</c:v>
                </c:pt>
                <c:pt idx="17">
                  <c:v>22.95</c:v>
                </c:pt>
                <c:pt idx="18">
                  <c:v>45.5</c:v>
                </c:pt>
                <c:pt idx="19">
                  <c:v>101.71</c:v>
                </c:pt>
                <c:pt idx="20">
                  <c:v>96.37</c:v>
                </c:pt>
                <c:pt idx="21">
                  <c:v>144.0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D$2:$D$23</c:f>
              <c:numCache>
                <c:formatCode>General</c:formatCode>
                <c:ptCount val="22"/>
                <c:pt idx="0">
                  <c:v>1.28</c:v>
                </c:pt>
                <c:pt idx="1">
                  <c:v>1.78</c:v>
                </c:pt>
                <c:pt idx="2">
                  <c:v>3.46</c:v>
                </c:pt>
                <c:pt idx="3">
                  <c:v>3.85</c:v>
                </c:pt>
                <c:pt idx="4">
                  <c:v>3.95</c:v>
                </c:pt>
                <c:pt idx="5">
                  <c:v>4.05</c:v>
                </c:pt>
                <c:pt idx="6">
                  <c:v>4.84</c:v>
                </c:pt>
                <c:pt idx="7">
                  <c:v>8.89</c:v>
                </c:pt>
                <c:pt idx="8">
                  <c:v>9.8800000000000008</c:v>
                </c:pt>
                <c:pt idx="9">
                  <c:v>11.85</c:v>
                </c:pt>
                <c:pt idx="10">
                  <c:v>12.24</c:v>
                </c:pt>
                <c:pt idx="11">
                  <c:v>14.22</c:v>
                </c:pt>
                <c:pt idx="12">
                  <c:v>21.23</c:v>
                </c:pt>
                <c:pt idx="13">
                  <c:v>24.29</c:v>
                </c:pt>
                <c:pt idx="14">
                  <c:v>24.59</c:v>
                </c:pt>
                <c:pt idx="15">
                  <c:v>26.37</c:v>
                </c:pt>
                <c:pt idx="16">
                  <c:v>28.54</c:v>
                </c:pt>
                <c:pt idx="17">
                  <c:v>30.12</c:v>
                </c:pt>
                <c:pt idx="18">
                  <c:v>42.66</c:v>
                </c:pt>
                <c:pt idx="19">
                  <c:v>92.43</c:v>
                </c:pt>
                <c:pt idx="20">
                  <c:v>94.8</c:v>
                </c:pt>
                <c:pt idx="21">
                  <c:v>11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rPr lang="en-US"/>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rPr lang="en-US"/>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E$2:$E$23</c:f>
              <c:numCache>
                <c:formatCode>General</c:formatCode>
                <c:ptCount val="22"/>
                <c:pt idx="0">
                  <c:v>1.21</c:v>
                </c:pt>
                <c:pt idx="1">
                  <c:v>1.9649999999999999</c:v>
                </c:pt>
                <c:pt idx="2">
                  <c:v>3.96</c:v>
                </c:pt>
                <c:pt idx="3">
                  <c:v>3.9249999999999998</c:v>
                </c:pt>
                <c:pt idx="4">
                  <c:v>3.95</c:v>
                </c:pt>
                <c:pt idx="5">
                  <c:v>5.4749999999999996</c:v>
                </c:pt>
                <c:pt idx="6">
                  <c:v>6.21</c:v>
                </c:pt>
                <c:pt idx="7">
                  <c:v>8.58</c:v>
                </c:pt>
                <c:pt idx="8">
                  <c:v>10.4</c:v>
                </c:pt>
                <c:pt idx="9">
                  <c:v>15.32</c:v>
                </c:pt>
                <c:pt idx="10">
                  <c:v>13.675000000000001</c:v>
                </c:pt>
                <c:pt idx="11">
                  <c:v>15.414999999999999</c:v>
                </c:pt>
                <c:pt idx="12">
                  <c:v>30.115000000000002</c:v>
                </c:pt>
                <c:pt idx="13">
                  <c:v>31.49</c:v>
                </c:pt>
                <c:pt idx="14">
                  <c:v>29.575000000000003</c:v>
                </c:pt>
                <c:pt idx="15">
                  <c:v>24.365000000000002</c:v>
                </c:pt>
                <c:pt idx="16">
                  <c:v>32.064999999999998</c:v>
                </c:pt>
                <c:pt idx="17">
                  <c:v>26.535</c:v>
                </c:pt>
                <c:pt idx="18">
                  <c:v>44.08</c:v>
                </c:pt>
                <c:pt idx="19">
                  <c:v>97.07</c:v>
                </c:pt>
                <c:pt idx="20">
                  <c:v>95.585000000000008</c:v>
                </c:pt>
                <c:pt idx="21">
                  <c:v>131.2699999999999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scaling>
        <c:delete val="0"/>
        <c:axPos val="r"/>
        <c:numFmt formatCode="General"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B$2:$B$23</c:f>
              <c:numCache>
                <c:formatCode>General</c:formatCode>
                <c:ptCount val="22"/>
                <c:pt idx="0">
                  <c:v>13</c:v>
                </c:pt>
                <c:pt idx="1">
                  <c:v>1</c:v>
                </c:pt>
                <c:pt idx="2">
                  <c:v>5</c:v>
                </c:pt>
                <c:pt idx="3">
                  <c:v>14</c:v>
                </c:pt>
                <c:pt idx="4">
                  <c:v>123</c:v>
                </c:pt>
                <c:pt idx="5">
                  <c:v>0</c:v>
                </c:pt>
                <c:pt idx="6">
                  <c:v>0</c:v>
                </c:pt>
                <c:pt idx="7">
                  <c:v>0</c:v>
                </c:pt>
                <c:pt idx="8">
                  <c:v>13</c:v>
                </c:pt>
                <c:pt idx="9">
                  <c:v>0</c:v>
                </c:pt>
                <c:pt idx="10">
                  <c:v>0</c:v>
                </c:pt>
                <c:pt idx="11">
                  <c:v>0</c:v>
                </c:pt>
                <c:pt idx="12">
                  <c:v>0</c:v>
                </c:pt>
                <c:pt idx="13">
                  <c:v>0</c:v>
                </c:pt>
                <c:pt idx="14">
                  <c:v>0</c:v>
                </c:pt>
                <c:pt idx="15">
                  <c:v>1</c:v>
                </c:pt>
                <c:pt idx="16">
                  <c:v>0</c:v>
                </c:pt>
                <c:pt idx="17">
                  <c:v>8</c:v>
                </c:pt>
                <c:pt idx="18">
                  <c:v>0</c:v>
                </c:pt>
                <c:pt idx="19">
                  <c:v>0</c:v>
                </c:pt>
                <c:pt idx="20">
                  <c:v>6</c:v>
                </c:pt>
                <c:pt idx="21">
                  <c:v>0</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C$2:$C$23</c:f>
              <c:numCache>
                <c:formatCode>General</c:formatCode>
                <c:ptCount val="22"/>
                <c:pt idx="0">
                  <c:v>1.1399999999999999</c:v>
                </c:pt>
                <c:pt idx="1">
                  <c:v>2.15</c:v>
                </c:pt>
                <c:pt idx="2">
                  <c:v>4.46</c:v>
                </c:pt>
                <c:pt idx="3">
                  <c:v>4</c:v>
                </c:pt>
                <c:pt idx="4">
                  <c:v>3.95</c:v>
                </c:pt>
                <c:pt idx="5">
                  <c:v>6.9</c:v>
                </c:pt>
                <c:pt idx="6">
                  <c:v>7.58</c:v>
                </c:pt>
                <c:pt idx="7">
                  <c:v>8.27</c:v>
                </c:pt>
                <c:pt idx="8">
                  <c:v>10.92</c:v>
                </c:pt>
                <c:pt idx="9">
                  <c:v>18.79</c:v>
                </c:pt>
                <c:pt idx="10">
                  <c:v>15.11</c:v>
                </c:pt>
                <c:pt idx="11">
                  <c:v>16.61</c:v>
                </c:pt>
                <c:pt idx="12">
                  <c:v>39</c:v>
                </c:pt>
                <c:pt idx="13">
                  <c:v>38.69</c:v>
                </c:pt>
                <c:pt idx="14">
                  <c:v>34.56</c:v>
                </c:pt>
                <c:pt idx="15">
                  <c:v>22.36</c:v>
                </c:pt>
                <c:pt idx="16">
                  <c:v>35.590000000000003</c:v>
                </c:pt>
                <c:pt idx="17">
                  <c:v>22.95</c:v>
                </c:pt>
                <c:pt idx="18">
                  <c:v>45.5</c:v>
                </c:pt>
                <c:pt idx="19">
                  <c:v>101.71</c:v>
                </c:pt>
                <c:pt idx="20">
                  <c:v>96.37</c:v>
                </c:pt>
                <c:pt idx="21">
                  <c:v>144.0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D$2:$D$23</c:f>
              <c:numCache>
                <c:formatCode>General</c:formatCode>
                <c:ptCount val="22"/>
                <c:pt idx="0">
                  <c:v>1.28</c:v>
                </c:pt>
                <c:pt idx="1">
                  <c:v>1.78</c:v>
                </c:pt>
                <c:pt idx="2">
                  <c:v>3.46</c:v>
                </c:pt>
                <c:pt idx="3">
                  <c:v>3.85</c:v>
                </c:pt>
                <c:pt idx="4">
                  <c:v>3.95</c:v>
                </c:pt>
                <c:pt idx="5">
                  <c:v>4.05</c:v>
                </c:pt>
                <c:pt idx="6">
                  <c:v>4.84</c:v>
                </c:pt>
                <c:pt idx="7">
                  <c:v>8.89</c:v>
                </c:pt>
                <c:pt idx="8">
                  <c:v>9.8800000000000008</c:v>
                </c:pt>
                <c:pt idx="9">
                  <c:v>11.85</c:v>
                </c:pt>
                <c:pt idx="10">
                  <c:v>12.24</c:v>
                </c:pt>
                <c:pt idx="11">
                  <c:v>14.22</c:v>
                </c:pt>
                <c:pt idx="12">
                  <c:v>21.23</c:v>
                </c:pt>
                <c:pt idx="13">
                  <c:v>24.29</c:v>
                </c:pt>
                <c:pt idx="14">
                  <c:v>24.59</c:v>
                </c:pt>
                <c:pt idx="15">
                  <c:v>26.37</c:v>
                </c:pt>
                <c:pt idx="16">
                  <c:v>28.54</c:v>
                </c:pt>
                <c:pt idx="17">
                  <c:v>30.12</c:v>
                </c:pt>
                <c:pt idx="18">
                  <c:v>42.66</c:v>
                </c:pt>
                <c:pt idx="19">
                  <c:v>92.43</c:v>
                </c:pt>
                <c:pt idx="20">
                  <c:v>94.8</c:v>
                </c:pt>
                <c:pt idx="21">
                  <c:v>11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rPr lang="en-US"/>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rPr lang="en-US"/>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E$2:$E$23</c:f>
              <c:numCache>
                <c:formatCode>General</c:formatCode>
                <c:ptCount val="22"/>
                <c:pt idx="0">
                  <c:v>1.21</c:v>
                </c:pt>
                <c:pt idx="1">
                  <c:v>1.9649999999999999</c:v>
                </c:pt>
                <c:pt idx="2">
                  <c:v>3.96</c:v>
                </c:pt>
                <c:pt idx="3">
                  <c:v>3.9249999999999998</c:v>
                </c:pt>
                <c:pt idx="4">
                  <c:v>3.95</c:v>
                </c:pt>
                <c:pt idx="5">
                  <c:v>5.4749999999999996</c:v>
                </c:pt>
                <c:pt idx="6">
                  <c:v>6.21</c:v>
                </c:pt>
                <c:pt idx="7">
                  <c:v>8.58</c:v>
                </c:pt>
                <c:pt idx="8">
                  <c:v>10.4</c:v>
                </c:pt>
                <c:pt idx="9">
                  <c:v>15.32</c:v>
                </c:pt>
                <c:pt idx="10">
                  <c:v>13.675000000000001</c:v>
                </c:pt>
                <c:pt idx="11">
                  <c:v>15.414999999999999</c:v>
                </c:pt>
                <c:pt idx="12">
                  <c:v>30.115000000000002</c:v>
                </c:pt>
                <c:pt idx="13">
                  <c:v>31.49</c:v>
                </c:pt>
                <c:pt idx="14">
                  <c:v>29.575000000000003</c:v>
                </c:pt>
                <c:pt idx="15">
                  <c:v>24.365000000000002</c:v>
                </c:pt>
                <c:pt idx="16">
                  <c:v>32.064999999999998</c:v>
                </c:pt>
                <c:pt idx="17">
                  <c:v>26.535</c:v>
                </c:pt>
                <c:pt idx="18">
                  <c:v>44.08</c:v>
                </c:pt>
                <c:pt idx="19">
                  <c:v>97.07</c:v>
                </c:pt>
                <c:pt idx="20">
                  <c:v>95.585000000000008</c:v>
                </c:pt>
                <c:pt idx="21">
                  <c:v>131.2699999999999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scaling>
        <c:delete val="0"/>
        <c:axPos val="r"/>
        <c:numFmt formatCode="General"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B$2:$B$23</c:f>
              <c:numCache>
                <c:formatCode>General</c:formatCode>
                <c:ptCount val="22"/>
                <c:pt idx="0">
                  <c:v>13</c:v>
                </c:pt>
                <c:pt idx="1">
                  <c:v>1</c:v>
                </c:pt>
                <c:pt idx="2">
                  <c:v>5</c:v>
                </c:pt>
                <c:pt idx="3">
                  <c:v>14</c:v>
                </c:pt>
                <c:pt idx="4">
                  <c:v>123</c:v>
                </c:pt>
                <c:pt idx="5">
                  <c:v>0</c:v>
                </c:pt>
                <c:pt idx="6">
                  <c:v>0</c:v>
                </c:pt>
                <c:pt idx="7">
                  <c:v>0</c:v>
                </c:pt>
                <c:pt idx="8">
                  <c:v>13</c:v>
                </c:pt>
                <c:pt idx="9">
                  <c:v>0</c:v>
                </c:pt>
                <c:pt idx="10">
                  <c:v>0</c:v>
                </c:pt>
                <c:pt idx="11">
                  <c:v>0</c:v>
                </c:pt>
                <c:pt idx="12">
                  <c:v>0</c:v>
                </c:pt>
                <c:pt idx="13">
                  <c:v>0</c:v>
                </c:pt>
                <c:pt idx="14">
                  <c:v>0</c:v>
                </c:pt>
                <c:pt idx="15">
                  <c:v>1</c:v>
                </c:pt>
                <c:pt idx="16">
                  <c:v>0</c:v>
                </c:pt>
                <c:pt idx="17">
                  <c:v>8</c:v>
                </c:pt>
                <c:pt idx="18">
                  <c:v>0</c:v>
                </c:pt>
                <c:pt idx="19">
                  <c:v>0</c:v>
                </c:pt>
                <c:pt idx="20">
                  <c:v>6</c:v>
                </c:pt>
                <c:pt idx="21">
                  <c:v>0</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C$2:$C$23</c:f>
              <c:numCache>
                <c:formatCode>General</c:formatCode>
                <c:ptCount val="22"/>
                <c:pt idx="0">
                  <c:v>1.1399999999999999</c:v>
                </c:pt>
                <c:pt idx="1">
                  <c:v>2.15</c:v>
                </c:pt>
                <c:pt idx="2">
                  <c:v>4.46</c:v>
                </c:pt>
                <c:pt idx="3">
                  <c:v>4</c:v>
                </c:pt>
                <c:pt idx="4">
                  <c:v>3.95</c:v>
                </c:pt>
                <c:pt idx="5">
                  <c:v>6.9</c:v>
                </c:pt>
                <c:pt idx="6">
                  <c:v>7.58</c:v>
                </c:pt>
                <c:pt idx="7">
                  <c:v>8.27</c:v>
                </c:pt>
                <c:pt idx="8">
                  <c:v>10.92</c:v>
                </c:pt>
                <c:pt idx="9">
                  <c:v>18.79</c:v>
                </c:pt>
                <c:pt idx="10">
                  <c:v>15.11</c:v>
                </c:pt>
                <c:pt idx="11">
                  <c:v>16.61</c:v>
                </c:pt>
                <c:pt idx="12">
                  <c:v>39</c:v>
                </c:pt>
                <c:pt idx="13">
                  <c:v>38.69</c:v>
                </c:pt>
                <c:pt idx="14">
                  <c:v>34.56</c:v>
                </c:pt>
                <c:pt idx="15">
                  <c:v>22.36</c:v>
                </c:pt>
                <c:pt idx="16">
                  <c:v>35.590000000000003</c:v>
                </c:pt>
                <c:pt idx="17">
                  <c:v>22.95</c:v>
                </c:pt>
                <c:pt idx="18">
                  <c:v>45.5</c:v>
                </c:pt>
                <c:pt idx="19">
                  <c:v>101.71</c:v>
                </c:pt>
                <c:pt idx="20">
                  <c:v>96.37</c:v>
                </c:pt>
                <c:pt idx="21">
                  <c:v>144.0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D$2:$D$23</c:f>
              <c:numCache>
                <c:formatCode>General</c:formatCode>
                <c:ptCount val="22"/>
                <c:pt idx="0">
                  <c:v>1.28</c:v>
                </c:pt>
                <c:pt idx="1">
                  <c:v>1.78</c:v>
                </c:pt>
                <c:pt idx="2">
                  <c:v>3.46</c:v>
                </c:pt>
                <c:pt idx="3">
                  <c:v>3.85</c:v>
                </c:pt>
                <c:pt idx="4">
                  <c:v>3.95</c:v>
                </c:pt>
                <c:pt idx="5">
                  <c:v>4.05</c:v>
                </c:pt>
                <c:pt idx="6">
                  <c:v>4.84</c:v>
                </c:pt>
                <c:pt idx="7">
                  <c:v>8.89</c:v>
                </c:pt>
                <c:pt idx="8">
                  <c:v>9.8800000000000008</c:v>
                </c:pt>
                <c:pt idx="9">
                  <c:v>11.85</c:v>
                </c:pt>
                <c:pt idx="10">
                  <c:v>12.24</c:v>
                </c:pt>
                <c:pt idx="11">
                  <c:v>14.22</c:v>
                </c:pt>
                <c:pt idx="12">
                  <c:v>21.23</c:v>
                </c:pt>
                <c:pt idx="13">
                  <c:v>24.29</c:v>
                </c:pt>
                <c:pt idx="14">
                  <c:v>24.59</c:v>
                </c:pt>
                <c:pt idx="15">
                  <c:v>26.37</c:v>
                </c:pt>
                <c:pt idx="16">
                  <c:v>28.54</c:v>
                </c:pt>
                <c:pt idx="17">
                  <c:v>30.12</c:v>
                </c:pt>
                <c:pt idx="18">
                  <c:v>42.66</c:v>
                </c:pt>
                <c:pt idx="19">
                  <c:v>92.43</c:v>
                </c:pt>
                <c:pt idx="20">
                  <c:v>94.8</c:v>
                </c:pt>
                <c:pt idx="21">
                  <c:v>11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rPr lang="en-US"/>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rPr lang="en-US"/>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E$2:$E$23</c:f>
              <c:numCache>
                <c:formatCode>General</c:formatCode>
                <c:ptCount val="22"/>
                <c:pt idx="0">
                  <c:v>1.21</c:v>
                </c:pt>
                <c:pt idx="1">
                  <c:v>1.9649999999999999</c:v>
                </c:pt>
                <c:pt idx="2">
                  <c:v>3.96</c:v>
                </c:pt>
                <c:pt idx="3">
                  <c:v>3.9249999999999998</c:v>
                </c:pt>
                <c:pt idx="4">
                  <c:v>3.95</c:v>
                </c:pt>
                <c:pt idx="5">
                  <c:v>5.4749999999999996</c:v>
                </c:pt>
                <c:pt idx="6">
                  <c:v>6.21</c:v>
                </c:pt>
                <c:pt idx="7">
                  <c:v>8.58</c:v>
                </c:pt>
                <c:pt idx="8">
                  <c:v>10.4</c:v>
                </c:pt>
                <c:pt idx="9">
                  <c:v>15.32</c:v>
                </c:pt>
                <c:pt idx="10">
                  <c:v>13.675000000000001</c:v>
                </c:pt>
                <c:pt idx="11">
                  <c:v>15.414999999999999</c:v>
                </c:pt>
                <c:pt idx="12">
                  <c:v>30.115000000000002</c:v>
                </c:pt>
                <c:pt idx="13">
                  <c:v>31.49</c:v>
                </c:pt>
                <c:pt idx="14">
                  <c:v>29.575000000000003</c:v>
                </c:pt>
                <c:pt idx="15">
                  <c:v>24.365000000000002</c:v>
                </c:pt>
                <c:pt idx="16">
                  <c:v>32.064999999999998</c:v>
                </c:pt>
                <c:pt idx="17">
                  <c:v>26.535</c:v>
                </c:pt>
                <c:pt idx="18">
                  <c:v>44.08</c:v>
                </c:pt>
                <c:pt idx="19">
                  <c:v>97.07</c:v>
                </c:pt>
                <c:pt idx="20">
                  <c:v>95.585000000000008</c:v>
                </c:pt>
                <c:pt idx="21">
                  <c:v>131.2699999999999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scaling>
        <c:delete val="0"/>
        <c:axPos val="r"/>
        <c:numFmt formatCode="General"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B$2:$B$23</c:f>
              <c:numCache>
                <c:formatCode>General</c:formatCode>
                <c:ptCount val="22"/>
                <c:pt idx="0">
                  <c:v>13</c:v>
                </c:pt>
                <c:pt idx="1">
                  <c:v>1</c:v>
                </c:pt>
                <c:pt idx="2">
                  <c:v>5</c:v>
                </c:pt>
                <c:pt idx="3">
                  <c:v>14</c:v>
                </c:pt>
                <c:pt idx="4">
                  <c:v>123</c:v>
                </c:pt>
                <c:pt idx="5">
                  <c:v>0</c:v>
                </c:pt>
                <c:pt idx="6">
                  <c:v>0</c:v>
                </c:pt>
                <c:pt idx="7">
                  <c:v>0</c:v>
                </c:pt>
                <c:pt idx="8">
                  <c:v>13</c:v>
                </c:pt>
                <c:pt idx="9">
                  <c:v>0</c:v>
                </c:pt>
                <c:pt idx="10">
                  <c:v>0</c:v>
                </c:pt>
                <c:pt idx="11">
                  <c:v>0</c:v>
                </c:pt>
                <c:pt idx="12">
                  <c:v>0</c:v>
                </c:pt>
                <c:pt idx="13">
                  <c:v>0</c:v>
                </c:pt>
                <c:pt idx="14">
                  <c:v>0</c:v>
                </c:pt>
                <c:pt idx="15">
                  <c:v>1</c:v>
                </c:pt>
                <c:pt idx="16">
                  <c:v>0</c:v>
                </c:pt>
                <c:pt idx="17">
                  <c:v>8</c:v>
                </c:pt>
                <c:pt idx="18">
                  <c:v>0</c:v>
                </c:pt>
                <c:pt idx="19">
                  <c:v>0</c:v>
                </c:pt>
                <c:pt idx="20">
                  <c:v>6</c:v>
                </c:pt>
                <c:pt idx="21">
                  <c:v>0</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C$2:$C$23</c:f>
              <c:numCache>
                <c:formatCode>General</c:formatCode>
                <c:ptCount val="22"/>
                <c:pt idx="0">
                  <c:v>1.1399999999999999</c:v>
                </c:pt>
                <c:pt idx="1">
                  <c:v>2.15</c:v>
                </c:pt>
                <c:pt idx="2">
                  <c:v>4.46</c:v>
                </c:pt>
                <c:pt idx="3">
                  <c:v>4</c:v>
                </c:pt>
                <c:pt idx="4">
                  <c:v>3.95</c:v>
                </c:pt>
                <c:pt idx="5">
                  <c:v>6.9</c:v>
                </c:pt>
                <c:pt idx="6">
                  <c:v>7.58</c:v>
                </c:pt>
                <c:pt idx="7">
                  <c:v>8.27</c:v>
                </c:pt>
                <c:pt idx="8">
                  <c:v>10.92</c:v>
                </c:pt>
                <c:pt idx="9">
                  <c:v>18.79</c:v>
                </c:pt>
                <c:pt idx="10">
                  <c:v>15.11</c:v>
                </c:pt>
                <c:pt idx="11">
                  <c:v>16.61</c:v>
                </c:pt>
                <c:pt idx="12">
                  <c:v>39</c:v>
                </c:pt>
                <c:pt idx="13">
                  <c:v>38.69</c:v>
                </c:pt>
                <c:pt idx="14">
                  <c:v>34.56</c:v>
                </c:pt>
                <c:pt idx="15">
                  <c:v>22.36</c:v>
                </c:pt>
                <c:pt idx="16">
                  <c:v>35.590000000000003</c:v>
                </c:pt>
                <c:pt idx="17">
                  <c:v>22.95</c:v>
                </c:pt>
                <c:pt idx="18">
                  <c:v>45.5</c:v>
                </c:pt>
                <c:pt idx="19">
                  <c:v>101.71</c:v>
                </c:pt>
                <c:pt idx="20">
                  <c:v>96.37</c:v>
                </c:pt>
                <c:pt idx="21">
                  <c:v>144.0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D$2:$D$23</c:f>
              <c:numCache>
                <c:formatCode>General</c:formatCode>
                <c:ptCount val="22"/>
                <c:pt idx="0">
                  <c:v>1.28</c:v>
                </c:pt>
                <c:pt idx="1">
                  <c:v>1.78</c:v>
                </c:pt>
                <c:pt idx="2">
                  <c:v>3.46</c:v>
                </c:pt>
                <c:pt idx="3">
                  <c:v>3.85</c:v>
                </c:pt>
                <c:pt idx="4">
                  <c:v>3.95</c:v>
                </c:pt>
                <c:pt idx="5">
                  <c:v>4.05</c:v>
                </c:pt>
                <c:pt idx="6">
                  <c:v>4.84</c:v>
                </c:pt>
                <c:pt idx="7">
                  <c:v>8.89</c:v>
                </c:pt>
                <c:pt idx="8">
                  <c:v>9.8800000000000008</c:v>
                </c:pt>
                <c:pt idx="9">
                  <c:v>11.85</c:v>
                </c:pt>
                <c:pt idx="10">
                  <c:v>12.24</c:v>
                </c:pt>
                <c:pt idx="11">
                  <c:v>14.22</c:v>
                </c:pt>
                <c:pt idx="12">
                  <c:v>21.23</c:v>
                </c:pt>
                <c:pt idx="13">
                  <c:v>24.29</c:v>
                </c:pt>
                <c:pt idx="14">
                  <c:v>24.59</c:v>
                </c:pt>
                <c:pt idx="15">
                  <c:v>26.37</c:v>
                </c:pt>
                <c:pt idx="16">
                  <c:v>28.54</c:v>
                </c:pt>
                <c:pt idx="17">
                  <c:v>30.12</c:v>
                </c:pt>
                <c:pt idx="18">
                  <c:v>42.66</c:v>
                </c:pt>
                <c:pt idx="19">
                  <c:v>92.43</c:v>
                </c:pt>
                <c:pt idx="20">
                  <c:v>94.8</c:v>
                </c:pt>
                <c:pt idx="21">
                  <c:v>11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rPr lang="en-US"/>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rPr lang="en-US"/>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E$2:$E$23</c:f>
              <c:numCache>
                <c:formatCode>General</c:formatCode>
                <c:ptCount val="22"/>
                <c:pt idx="0">
                  <c:v>1.21</c:v>
                </c:pt>
                <c:pt idx="1">
                  <c:v>1.9649999999999999</c:v>
                </c:pt>
                <c:pt idx="2">
                  <c:v>3.96</c:v>
                </c:pt>
                <c:pt idx="3">
                  <c:v>3.9249999999999998</c:v>
                </c:pt>
                <c:pt idx="4">
                  <c:v>3.95</c:v>
                </c:pt>
                <c:pt idx="5">
                  <c:v>5.4749999999999996</c:v>
                </c:pt>
                <c:pt idx="6">
                  <c:v>6.21</c:v>
                </c:pt>
                <c:pt idx="7">
                  <c:v>8.58</c:v>
                </c:pt>
                <c:pt idx="8">
                  <c:v>10.4</c:v>
                </c:pt>
                <c:pt idx="9">
                  <c:v>15.32</c:v>
                </c:pt>
                <c:pt idx="10">
                  <c:v>13.675000000000001</c:v>
                </c:pt>
                <c:pt idx="11">
                  <c:v>15.414999999999999</c:v>
                </c:pt>
                <c:pt idx="12">
                  <c:v>30.115000000000002</c:v>
                </c:pt>
                <c:pt idx="13">
                  <c:v>31.49</c:v>
                </c:pt>
                <c:pt idx="14">
                  <c:v>29.575000000000003</c:v>
                </c:pt>
                <c:pt idx="15">
                  <c:v>24.365000000000002</c:v>
                </c:pt>
                <c:pt idx="16">
                  <c:v>32.064999999999998</c:v>
                </c:pt>
                <c:pt idx="17">
                  <c:v>26.535</c:v>
                </c:pt>
                <c:pt idx="18">
                  <c:v>44.08</c:v>
                </c:pt>
                <c:pt idx="19">
                  <c:v>97.07</c:v>
                </c:pt>
                <c:pt idx="20">
                  <c:v>95.585000000000008</c:v>
                </c:pt>
                <c:pt idx="21">
                  <c:v>131.2699999999999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scaling>
        <c:delete val="0"/>
        <c:axPos val="r"/>
        <c:numFmt formatCode="General"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B$2:$B$23</c:f>
              <c:numCache>
                <c:formatCode>General</c:formatCode>
                <c:ptCount val="22"/>
                <c:pt idx="0">
                  <c:v>13</c:v>
                </c:pt>
                <c:pt idx="1">
                  <c:v>1</c:v>
                </c:pt>
                <c:pt idx="2">
                  <c:v>5</c:v>
                </c:pt>
                <c:pt idx="3">
                  <c:v>14</c:v>
                </c:pt>
                <c:pt idx="4">
                  <c:v>123</c:v>
                </c:pt>
                <c:pt idx="5">
                  <c:v>0</c:v>
                </c:pt>
                <c:pt idx="6">
                  <c:v>0</c:v>
                </c:pt>
                <c:pt idx="7">
                  <c:v>0</c:v>
                </c:pt>
                <c:pt idx="8">
                  <c:v>13</c:v>
                </c:pt>
                <c:pt idx="9">
                  <c:v>0</c:v>
                </c:pt>
                <c:pt idx="10">
                  <c:v>0</c:v>
                </c:pt>
                <c:pt idx="11">
                  <c:v>0</c:v>
                </c:pt>
                <c:pt idx="12">
                  <c:v>0</c:v>
                </c:pt>
                <c:pt idx="13">
                  <c:v>0</c:v>
                </c:pt>
                <c:pt idx="14">
                  <c:v>0</c:v>
                </c:pt>
                <c:pt idx="15">
                  <c:v>1</c:v>
                </c:pt>
                <c:pt idx="16">
                  <c:v>0</c:v>
                </c:pt>
                <c:pt idx="17">
                  <c:v>8</c:v>
                </c:pt>
                <c:pt idx="18">
                  <c:v>0</c:v>
                </c:pt>
                <c:pt idx="19">
                  <c:v>0</c:v>
                </c:pt>
                <c:pt idx="20">
                  <c:v>6</c:v>
                </c:pt>
                <c:pt idx="21">
                  <c:v>0</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C$2:$C$23</c:f>
              <c:numCache>
                <c:formatCode>General</c:formatCode>
                <c:ptCount val="22"/>
                <c:pt idx="0">
                  <c:v>1.1399999999999999</c:v>
                </c:pt>
                <c:pt idx="1">
                  <c:v>2.15</c:v>
                </c:pt>
                <c:pt idx="2">
                  <c:v>4.46</c:v>
                </c:pt>
                <c:pt idx="3">
                  <c:v>4</c:v>
                </c:pt>
                <c:pt idx="4">
                  <c:v>3.95</c:v>
                </c:pt>
                <c:pt idx="5">
                  <c:v>6.9</c:v>
                </c:pt>
                <c:pt idx="6">
                  <c:v>7.58</c:v>
                </c:pt>
                <c:pt idx="7">
                  <c:v>8.27</c:v>
                </c:pt>
                <c:pt idx="8">
                  <c:v>10.92</c:v>
                </c:pt>
                <c:pt idx="9">
                  <c:v>18.79</c:v>
                </c:pt>
                <c:pt idx="10">
                  <c:v>15.11</c:v>
                </c:pt>
                <c:pt idx="11">
                  <c:v>16.61</c:v>
                </c:pt>
                <c:pt idx="12">
                  <c:v>39</c:v>
                </c:pt>
                <c:pt idx="13">
                  <c:v>38.69</c:v>
                </c:pt>
                <c:pt idx="14">
                  <c:v>34.56</c:v>
                </c:pt>
                <c:pt idx="15">
                  <c:v>22.36</c:v>
                </c:pt>
                <c:pt idx="16">
                  <c:v>35.590000000000003</c:v>
                </c:pt>
                <c:pt idx="17">
                  <c:v>22.95</c:v>
                </c:pt>
                <c:pt idx="18">
                  <c:v>45.5</c:v>
                </c:pt>
                <c:pt idx="19">
                  <c:v>101.71</c:v>
                </c:pt>
                <c:pt idx="20">
                  <c:v>96.37</c:v>
                </c:pt>
                <c:pt idx="21">
                  <c:v>144.0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D$2:$D$23</c:f>
              <c:numCache>
                <c:formatCode>General</c:formatCode>
                <c:ptCount val="22"/>
                <c:pt idx="0">
                  <c:v>1.28</c:v>
                </c:pt>
                <c:pt idx="1">
                  <c:v>1.78</c:v>
                </c:pt>
                <c:pt idx="2">
                  <c:v>3.46</c:v>
                </c:pt>
                <c:pt idx="3">
                  <c:v>3.85</c:v>
                </c:pt>
                <c:pt idx="4">
                  <c:v>3.95</c:v>
                </c:pt>
                <c:pt idx="5">
                  <c:v>4.05</c:v>
                </c:pt>
                <c:pt idx="6">
                  <c:v>4.84</c:v>
                </c:pt>
                <c:pt idx="7">
                  <c:v>8.89</c:v>
                </c:pt>
                <c:pt idx="8">
                  <c:v>9.8800000000000008</c:v>
                </c:pt>
                <c:pt idx="9">
                  <c:v>11.85</c:v>
                </c:pt>
                <c:pt idx="10">
                  <c:v>12.24</c:v>
                </c:pt>
                <c:pt idx="11">
                  <c:v>14.22</c:v>
                </c:pt>
                <c:pt idx="12">
                  <c:v>21.23</c:v>
                </c:pt>
                <c:pt idx="13">
                  <c:v>24.29</c:v>
                </c:pt>
                <c:pt idx="14">
                  <c:v>24.59</c:v>
                </c:pt>
                <c:pt idx="15">
                  <c:v>26.37</c:v>
                </c:pt>
                <c:pt idx="16">
                  <c:v>28.54</c:v>
                </c:pt>
                <c:pt idx="17">
                  <c:v>30.12</c:v>
                </c:pt>
                <c:pt idx="18">
                  <c:v>42.66</c:v>
                </c:pt>
                <c:pt idx="19">
                  <c:v>92.43</c:v>
                </c:pt>
                <c:pt idx="20">
                  <c:v>94.8</c:v>
                </c:pt>
                <c:pt idx="21">
                  <c:v>11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rPr lang="en-US"/>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rPr lang="en-US"/>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E$2:$E$23</c:f>
              <c:numCache>
                <c:formatCode>General</c:formatCode>
                <c:ptCount val="22"/>
                <c:pt idx="0">
                  <c:v>1.21</c:v>
                </c:pt>
                <c:pt idx="1">
                  <c:v>1.9649999999999999</c:v>
                </c:pt>
                <c:pt idx="2">
                  <c:v>3.96</c:v>
                </c:pt>
                <c:pt idx="3">
                  <c:v>3.9249999999999998</c:v>
                </c:pt>
                <c:pt idx="4">
                  <c:v>3.95</c:v>
                </c:pt>
                <c:pt idx="5">
                  <c:v>5.4749999999999996</c:v>
                </c:pt>
                <c:pt idx="6">
                  <c:v>6.21</c:v>
                </c:pt>
                <c:pt idx="7">
                  <c:v>8.58</c:v>
                </c:pt>
                <c:pt idx="8">
                  <c:v>10.4</c:v>
                </c:pt>
                <c:pt idx="9">
                  <c:v>15.32</c:v>
                </c:pt>
                <c:pt idx="10">
                  <c:v>13.675000000000001</c:v>
                </c:pt>
                <c:pt idx="11">
                  <c:v>15.414999999999999</c:v>
                </c:pt>
                <c:pt idx="12">
                  <c:v>30.115000000000002</c:v>
                </c:pt>
                <c:pt idx="13">
                  <c:v>31.49</c:v>
                </c:pt>
                <c:pt idx="14">
                  <c:v>29.575000000000003</c:v>
                </c:pt>
                <c:pt idx="15">
                  <c:v>24.365000000000002</c:v>
                </c:pt>
                <c:pt idx="16">
                  <c:v>32.064999999999998</c:v>
                </c:pt>
                <c:pt idx="17">
                  <c:v>26.535</c:v>
                </c:pt>
                <c:pt idx="18">
                  <c:v>44.08</c:v>
                </c:pt>
                <c:pt idx="19">
                  <c:v>97.07</c:v>
                </c:pt>
                <c:pt idx="20">
                  <c:v>95.585000000000008</c:v>
                </c:pt>
                <c:pt idx="21">
                  <c:v>131.2699999999999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scaling>
        <c:delete val="0"/>
        <c:axPos val="r"/>
        <c:numFmt formatCode="General"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B$2:$B$23</c:f>
              <c:numCache>
                <c:formatCode>General</c:formatCode>
                <c:ptCount val="22"/>
                <c:pt idx="0">
                  <c:v>13</c:v>
                </c:pt>
                <c:pt idx="1">
                  <c:v>1</c:v>
                </c:pt>
                <c:pt idx="2">
                  <c:v>5</c:v>
                </c:pt>
                <c:pt idx="3">
                  <c:v>14</c:v>
                </c:pt>
                <c:pt idx="4">
                  <c:v>123</c:v>
                </c:pt>
                <c:pt idx="5">
                  <c:v>0</c:v>
                </c:pt>
                <c:pt idx="6">
                  <c:v>0</c:v>
                </c:pt>
                <c:pt idx="7">
                  <c:v>0</c:v>
                </c:pt>
                <c:pt idx="8">
                  <c:v>13</c:v>
                </c:pt>
                <c:pt idx="9">
                  <c:v>0</c:v>
                </c:pt>
                <c:pt idx="10">
                  <c:v>0</c:v>
                </c:pt>
                <c:pt idx="11">
                  <c:v>0</c:v>
                </c:pt>
                <c:pt idx="12">
                  <c:v>0</c:v>
                </c:pt>
                <c:pt idx="13">
                  <c:v>0</c:v>
                </c:pt>
                <c:pt idx="14">
                  <c:v>0</c:v>
                </c:pt>
                <c:pt idx="15">
                  <c:v>1</c:v>
                </c:pt>
                <c:pt idx="16">
                  <c:v>0</c:v>
                </c:pt>
                <c:pt idx="17">
                  <c:v>8</c:v>
                </c:pt>
                <c:pt idx="18">
                  <c:v>0</c:v>
                </c:pt>
                <c:pt idx="19">
                  <c:v>0</c:v>
                </c:pt>
                <c:pt idx="20">
                  <c:v>6</c:v>
                </c:pt>
                <c:pt idx="21">
                  <c:v>0</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C$2:$C$23</c:f>
              <c:numCache>
                <c:formatCode>General</c:formatCode>
                <c:ptCount val="22"/>
                <c:pt idx="0">
                  <c:v>1.1399999999999999</c:v>
                </c:pt>
                <c:pt idx="1">
                  <c:v>2.15</c:v>
                </c:pt>
                <c:pt idx="2">
                  <c:v>4.46</c:v>
                </c:pt>
                <c:pt idx="3">
                  <c:v>4</c:v>
                </c:pt>
                <c:pt idx="4">
                  <c:v>3.95</c:v>
                </c:pt>
                <c:pt idx="5">
                  <c:v>6.9</c:v>
                </c:pt>
                <c:pt idx="6">
                  <c:v>7.58</c:v>
                </c:pt>
                <c:pt idx="7">
                  <c:v>8.27</c:v>
                </c:pt>
                <c:pt idx="8">
                  <c:v>10.92</c:v>
                </c:pt>
                <c:pt idx="9">
                  <c:v>18.79</c:v>
                </c:pt>
                <c:pt idx="10">
                  <c:v>15.11</c:v>
                </c:pt>
                <c:pt idx="11">
                  <c:v>16.61</c:v>
                </c:pt>
                <c:pt idx="12">
                  <c:v>39</c:v>
                </c:pt>
                <c:pt idx="13">
                  <c:v>38.69</c:v>
                </c:pt>
                <c:pt idx="14">
                  <c:v>34.56</c:v>
                </c:pt>
                <c:pt idx="15">
                  <c:v>22.36</c:v>
                </c:pt>
                <c:pt idx="16">
                  <c:v>35.590000000000003</c:v>
                </c:pt>
                <c:pt idx="17">
                  <c:v>22.95</c:v>
                </c:pt>
                <c:pt idx="18">
                  <c:v>45.5</c:v>
                </c:pt>
                <c:pt idx="19">
                  <c:v>101.71</c:v>
                </c:pt>
                <c:pt idx="20">
                  <c:v>96.37</c:v>
                </c:pt>
                <c:pt idx="21">
                  <c:v>144.0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D$2:$D$23</c:f>
              <c:numCache>
                <c:formatCode>General</c:formatCode>
                <c:ptCount val="22"/>
                <c:pt idx="0">
                  <c:v>1.28</c:v>
                </c:pt>
                <c:pt idx="1">
                  <c:v>1.78</c:v>
                </c:pt>
                <c:pt idx="2">
                  <c:v>3.46</c:v>
                </c:pt>
                <c:pt idx="3">
                  <c:v>3.85</c:v>
                </c:pt>
                <c:pt idx="4">
                  <c:v>3.95</c:v>
                </c:pt>
                <c:pt idx="5">
                  <c:v>4.05</c:v>
                </c:pt>
                <c:pt idx="6">
                  <c:v>4.84</c:v>
                </c:pt>
                <c:pt idx="7">
                  <c:v>8.89</c:v>
                </c:pt>
                <c:pt idx="8">
                  <c:v>9.8800000000000008</c:v>
                </c:pt>
                <c:pt idx="9">
                  <c:v>11.85</c:v>
                </c:pt>
                <c:pt idx="10">
                  <c:v>12.24</c:v>
                </c:pt>
                <c:pt idx="11">
                  <c:v>14.22</c:v>
                </c:pt>
                <c:pt idx="12">
                  <c:v>21.23</c:v>
                </c:pt>
                <c:pt idx="13">
                  <c:v>24.29</c:v>
                </c:pt>
                <c:pt idx="14">
                  <c:v>24.59</c:v>
                </c:pt>
                <c:pt idx="15">
                  <c:v>26.37</c:v>
                </c:pt>
                <c:pt idx="16">
                  <c:v>28.54</c:v>
                </c:pt>
                <c:pt idx="17">
                  <c:v>30.12</c:v>
                </c:pt>
                <c:pt idx="18">
                  <c:v>42.66</c:v>
                </c:pt>
                <c:pt idx="19">
                  <c:v>92.43</c:v>
                </c:pt>
                <c:pt idx="20">
                  <c:v>94.8</c:v>
                </c:pt>
                <c:pt idx="21">
                  <c:v>11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rPr lang="en-US"/>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rPr lang="en-US"/>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E$2:$E$23</c:f>
              <c:numCache>
                <c:formatCode>General</c:formatCode>
                <c:ptCount val="22"/>
                <c:pt idx="0">
                  <c:v>1.21</c:v>
                </c:pt>
                <c:pt idx="1">
                  <c:v>1.9649999999999999</c:v>
                </c:pt>
                <c:pt idx="2">
                  <c:v>3.96</c:v>
                </c:pt>
                <c:pt idx="3">
                  <c:v>3.9249999999999998</c:v>
                </c:pt>
                <c:pt idx="4">
                  <c:v>3.95</c:v>
                </c:pt>
                <c:pt idx="5">
                  <c:v>5.4749999999999996</c:v>
                </c:pt>
                <c:pt idx="6">
                  <c:v>6.21</c:v>
                </c:pt>
                <c:pt idx="7">
                  <c:v>8.58</c:v>
                </c:pt>
                <c:pt idx="8">
                  <c:v>10.4</c:v>
                </c:pt>
                <c:pt idx="9">
                  <c:v>15.32</c:v>
                </c:pt>
                <c:pt idx="10">
                  <c:v>13.675000000000001</c:v>
                </c:pt>
                <c:pt idx="11">
                  <c:v>15.414999999999999</c:v>
                </c:pt>
                <c:pt idx="12">
                  <c:v>30.115000000000002</c:v>
                </c:pt>
                <c:pt idx="13">
                  <c:v>31.49</c:v>
                </c:pt>
                <c:pt idx="14">
                  <c:v>29.575000000000003</c:v>
                </c:pt>
                <c:pt idx="15">
                  <c:v>24.365000000000002</c:v>
                </c:pt>
                <c:pt idx="16">
                  <c:v>32.064999999999998</c:v>
                </c:pt>
                <c:pt idx="17">
                  <c:v>26.535</c:v>
                </c:pt>
                <c:pt idx="18">
                  <c:v>44.08</c:v>
                </c:pt>
                <c:pt idx="19">
                  <c:v>97.07</c:v>
                </c:pt>
                <c:pt idx="20">
                  <c:v>95.585000000000008</c:v>
                </c:pt>
                <c:pt idx="21">
                  <c:v>131.2699999999999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scaling>
        <c:delete val="0"/>
        <c:axPos val="r"/>
        <c:numFmt formatCode="General"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B$2:$B$23</c:f>
              <c:numCache>
                <c:formatCode>General</c:formatCode>
                <c:ptCount val="22"/>
                <c:pt idx="0">
                  <c:v>13</c:v>
                </c:pt>
                <c:pt idx="1">
                  <c:v>1</c:v>
                </c:pt>
                <c:pt idx="2">
                  <c:v>5</c:v>
                </c:pt>
                <c:pt idx="3">
                  <c:v>14</c:v>
                </c:pt>
                <c:pt idx="4">
                  <c:v>123</c:v>
                </c:pt>
                <c:pt idx="5">
                  <c:v>0</c:v>
                </c:pt>
                <c:pt idx="6">
                  <c:v>0</c:v>
                </c:pt>
                <c:pt idx="7">
                  <c:v>0</c:v>
                </c:pt>
                <c:pt idx="8">
                  <c:v>13</c:v>
                </c:pt>
                <c:pt idx="9">
                  <c:v>0</c:v>
                </c:pt>
                <c:pt idx="10">
                  <c:v>0</c:v>
                </c:pt>
                <c:pt idx="11">
                  <c:v>0</c:v>
                </c:pt>
                <c:pt idx="12">
                  <c:v>0</c:v>
                </c:pt>
                <c:pt idx="13">
                  <c:v>0</c:v>
                </c:pt>
                <c:pt idx="14">
                  <c:v>0</c:v>
                </c:pt>
                <c:pt idx="15">
                  <c:v>1</c:v>
                </c:pt>
                <c:pt idx="16">
                  <c:v>0</c:v>
                </c:pt>
                <c:pt idx="17">
                  <c:v>8</c:v>
                </c:pt>
                <c:pt idx="18">
                  <c:v>0</c:v>
                </c:pt>
                <c:pt idx="19">
                  <c:v>0</c:v>
                </c:pt>
                <c:pt idx="20">
                  <c:v>6</c:v>
                </c:pt>
                <c:pt idx="21">
                  <c:v>0</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C$2:$C$23</c:f>
              <c:numCache>
                <c:formatCode>General</c:formatCode>
                <c:ptCount val="22"/>
                <c:pt idx="0">
                  <c:v>1.1399999999999999</c:v>
                </c:pt>
                <c:pt idx="1">
                  <c:v>2.15</c:v>
                </c:pt>
                <c:pt idx="2">
                  <c:v>4.46</c:v>
                </c:pt>
                <c:pt idx="3">
                  <c:v>4</c:v>
                </c:pt>
                <c:pt idx="4">
                  <c:v>3.95</c:v>
                </c:pt>
                <c:pt idx="5">
                  <c:v>6.9</c:v>
                </c:pt>
                <c:pt idx="6">
                  <c:v>7.58</c:v>
                </c:pt>
                <c:pt idx="7">
                  <c:v>8.27</c:v>
                </c:pt>
                <c:pt idx="8">
                  <c:v>10.92</c:v>
                </c:pt>
                <c:pt idx="9">
                  <c:v>18.79</c:v>
                </c:pt>
                <c:pt idx="10">
                  <c:v>15.11</c:v>
                </c:pt>
                <c:pt idx="11">
                  <c:v>16.61</c:v>
                </c:pt>
                <c:pt idx="12">
                  <c:v>39</c:v>
                </c:pt>
                <c:pt idx="13">
                  <c:v>38.69</c:v>
                </c:pt>
                <c:pt idx="14">
                  <c:v>34.56</c:v>
                </c:pt>
                <c:pt idx="15">
                  <c:v>22.36</c:v>
                </c:pt>
                <c:pt idx="16">
                  <c:v>35.590000000000003</c:v>
                </c:pt>
                <c:pt idx="17">
                  <c:v>22.95</c:v>
                </c:pt>
                <c:pt idx="18">
                  <c:v>45.5</c:v>
                </c:pt>
                <c:pt idx="19">
                  <c:v>101.71</c:v>
                </c:pt>
                <c:pt idx="20">
                  <c:v>96.37</c:v>
                </c:pt>
                <c:pt idx="21">
                  <c:v>144.0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D$2:$D$23</c:f>
              <c:numCache>
                <c:formatCode>General</c:formatCode>
                <c:ptCount val="22"/>
                <c:pt idx="0">
                  <c:v>1.28</c:v>
                </c:pt>
                <c:pt idx="1">
                  <c:v>1.78</c:v>
                </c:pt>
                <c:pt idx="2">
                  <c:v>3.46</c:v>
                </c:pt>
                <c:pt idx="3">
                  <c:v>3.85</c:v>
                </c:pt>
                <c:pt idx="4">
                  <c:v>3.95</c:v>
                </c:pt>
                <c:pt idx="5">
                  <c:v>4.05</c:v>
                </c:pt>
                <c:pt idx="6">
                  <c:v>4.84</c:v>
                </c:pt>
                <c:pt idx="7">
                  <c:v>8.89</c:v>
                </c:pt>
                <c:pt idx="8">
                  <c:v>9.8800000000000008</c:v>
                </c:pt>
                <c:pt idx="9">
                  <c:v>11.85</c:v>
                </c:pt>
                <c:pt idx="10">
                  <c:v>12.24</c:v>
                </c:pt>
                <c:pt idx="11">
                  <c:v>14.22</c:v>
                </c:pt>
                <c:pt idx="12">
                  <c:v>21.23</c:v>
                </c:pt>
                <c:pt idx="13">
                  <c:v>24.29</c:v>
                </c:pt>
                <c:pt idx="14">
                  <c:v>24.59</c:v>
                </c:pt>
                <c:pt idx="15">
                  <c:v>26.37</c:v>
                </c:pt>
                <c:pt idx="16">
                  <c:v>28.54</c:v>
                </c:pt>
                <c:pt idx="17">
                  <c:v>30.12</c:v>
                </c:pt>
                <c:pt idx="18">
                  <c:v>42.66</c:v>
                </c:pt>
                <c:pt idx="19">
                  <c:v>92.43</c:v>
                </c:pt>
                <c:pt idx="20">
                  <c:v>94.8</c:v>
                </c:pt>
                <c:pt idx="21">
                  <c:v>11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rPr lang="en-US"/>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rPr lang="en-US"/>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E$2:$E$23</c:f>
              <c:numCache>
                <c:formatCode>General</c:formatCode>
                <c:ptCount val="22"/>
                <c:pt idx="0">
                  <c:v>1.21</c:v>
                </c:pt>
                <c:pt idx="1">
                  <c:v>1.9649999999999999</c:v>
                </c:pt>
                <c:pt idx="2">
                  <c:v>3.96</c:v>
                </c:pt>
                <c:pt idx="3">
                  <c:v>3.9249999999999998</c:v>
                </c:pt>
                <c:pt idx="4">
                  <c:v>3.95</c:v>
                </c:pt>
                <c:pt idx="5">
                  <c:v>5.4749999999999996</c:v>
                </c:pt>
                <c:pt idx="6">
                  <c:v>6.21</c:v>
                </c:pt>
                <c:pt idx="7">
                  <c:v>8.58</c:v>
                </c:pt>
                <c:pt idx="8">
                  <c:v>10.4</c:v>
                </c:pt>
                <c:pt idx="9">
                  <c:v>15.32</c:v>
                </c:pt>
                <c:pt idx="10">
                  <c:v>13.675000000000001</c:v>
                </c:pt>
                <c:pt idx="11">
                  <c:v>15.414999999999999</c:v>
                </c:pt>
                <c:pt idx="12">
                  <c:v>30.115000000000002</c:v>
                </c:pt>
                <c:pt idx="13">
                  <c:v>31.49</c:v>
                </c:pt>
                <c:pt idx="14">
                  <c:v>29.575000000000003</c:v>
                </c:pt>
                <c:pt idx="15">
                  <c:v>24.365000000000002</c:v>
                </c:pt>
                <c:pt idx="16">
                  <c:v>32.064999999999998</c:v>
                </c:pt>
                <c:pt idx="17">
                  <c:v>26.535</c:v>
                </c:pt>
                <c:pt idx="18">
                  <c:v>44.08</c:v>
                </c:pt>
                <c:pt idx="19">
                  <c:v>97.07</c:v>
                </c:pt>
                <c:pt idx="20">
                  <c:v>95.585000000000008</c:v>
                </c:pt>
                <c:pt idx="21">
                  <c:v>131.2699999999999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scaling>
        <c:delete val="0"/>
        <c:axPos val="r"/>
        <c:numFmt formatCode="General"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B$2:$B$23</c:f>
              <c:numCache>
                <c:formatCode>General</c:formatCode>
                <c:ptCount val="22"/>
                <c:pt idx="0">
                  <c:v>13</c:v>
                </c:pt>
                <c:pt idx="1">
                  <c:v>1</c:v>
                </c:pt>
                <c:pt idx="2">
                  <c:v>5</c:v>
                </c:pt>
                <c:pt idx="3">
                  <c:v>14</c:v>
                </c:pt>
                <c:pt idx="4">
                  <c:v>123</c:v>
                </c:pt>
                <c:pt idx="5">
                  <c:v>0</c:v>
                </c:pt>
                <c:pt idx="6">
                  <c:v>0</c:v>
                </c:pt>
                <c:pt idx="7">
                  <c:v>0</c:v>
                </c:pt>
                <c:pt idx="8">
                  <c:v>13</c:v>
                </c:pt>
                <c:pt idx="9">
                  <c:v>0</c:v>
                </c:pt>
                <c:pt idx="10">
                  <c:v>0</c:v>
                </c:pt>
                <c:pt idx="11">
                  <c:v>0</c:v>
                </c:pt>
                <c:pt idx="12">
                  <c:v>0</c:v>
                </c:pt>
                <c:pt idx="13">
                  <c:v>0</c:v>
                </c:pt>
                <c:pt idx="14">
                  <c:v>0</c:v>
                </c:pt>
                <c:pt idx="15">
                  <c:v>1</c:v>
                </c:pt>
                <c:pt idx="16">
                  <c:v>0</c:v>
                </c:pt>
                <c:pt idx="17">
                  <c:v>8</c:v>
                </c:pt>
                <c:pt idx="18">
                  <c:v>0</c:v>
                </c:pt>
                <c:pt idx="19">
                  <c:v>0</c:v>
                </c:pt>
                <c:pt idx="20">
                  <c:v>6</c:v>
                </c:pt>
                <c:pt idx="21">
                  <c:v>0</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C$2:$C$23</c:f>
              <c:numCache>
                <c:formatCode>General</c:formatCode>
                <c:ptCount val="22"/>
                <c:pt idx="0">
                  <c:v>1.1399999999999999</c:v>
                </c:pt>
                <c:pt idx="1">
                  <c:v>2.15</c:v>
                </c:pt>
                <c:pt idx="2">
                  <c:v>4.46</c:v>
                </c:pt>
                <c:pt idx="3">
                  <c:v>4</c:v>
                </c:pt>
                <c:pt idx="4">
                  <c:v>3.95</c:v>
                </c:pt>
                <c:pt idx="5">
                  <c:v>6.9</c:v>
                </c:pt>
                <c:pt idx="6">
                  <c:v>7.58</c:v>
                </c:pt>
                <c:pt idx="7">
                  <c:v>8.27</c:v>
                </c:pt>
                <c:pt idx="8">
                  <c:v>10.92</c:v>
                </c:pt>
                <c:pt idx="9">
                  <c:v>18.79</c:v>
                </c:pt>
                <c:pt idx="10">
                  <c:v>15.11</c:v>
                </c:pt>
                <c:pt idx="11">
                  <c:v>16.61</c:v>
                </c:pt>
                <c:pt idx="12">
                  <c:v>39</c:v>
                </c:pt>
                <c:pt idx="13">
                  <c:v>38.69</c:v>
                </c:pt>
                <c:pt idx="14">
                  <c:v>34.56</c:v>
                </c:pt>
                <c:pt idx="15">
                  <c:v>22.36</c:v>
                </c:pt>
                <c:pt idx="16">
                  <c:v>35.590000000000003</c:v>
                </c:pt>
                <c:pt idx="17">
                  <c:v>22.95</c:v>
                </c:pt>
                <c:pt idx="18">
                  <c:v>45.5</c:v>
                </c:pt>
                <c:pt idx="19">
                  <c:v>101.71</c:v>
                </c:pt>
                <c:pt idx="20">
                  <c:v>96.37</c:v>
                </c:pt>
                <c:pt idx="21">
                  <c:v>144.0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D$2:$D$23</c:f>
              <c:numCache>
                <c:formatCode>General</c:formatCode>
                <c:ptCount val="22"/>
                <c:pt idx="0">
                  <c:v>1.28</c:v>
                </c:pt>
                <c:pt idx="1">
                  <c:v>1.78</c:v>
                </c:pt>
                <c:pt idx="2">
                  <c:v>3.46</c:v>
                </c:pt>
                <c:pt idx="3">
                  <c:v>3.85</c:v>
                </c:pt>
                <c:pt idx="4">
                  <c:v>3.95</c:v>
                </c:pt>
                <c:pt idx="5">
                  <c:v>4.05</c:v>
                </c:pt>
                <c:pt idx="6">
                  <c:v>4.84</c:v>
                </c:pt>
                <c:pt idx="7">
                  <c:v>8.89</c:v>
                </c:pt>
                <c:pt idx="8">
                  <c:v>9.8800000000000008</c:v>
                </c:pt>
                <c:pt idx="9">
                  <c:v>11.85</c:v>
                </c:pt>
                <c:pt idx="10">
                  <c:v>12.24</c:v>
                </c:pt>
                <c:pt idx="11">
                  <c:v>14.22</c:v>
                </c:pt>
                <c:pt idx="12">
                  <c:v>21.23</c:v>
                </c:pt>
                <c:pt idx="13">
                  <c:v>24.29</c:v>
                </c:pt>
                <c:pt idx="14">
                  <c:v>24.59</c:v>
                </c:pt>
                <c:pt idx="15">
                  <c:v>26.37</c:v>
                </c:pt>
                <c:pt idx="16">
                  <c:v>28.54</c:v>
                </c:pt>
                <c:pt idx="17">
                  <c:v>30.12</c:v>
                </c:pt>
                <c:pt idx="18">
                  <c:v>42.66</c:v>
                </c:pt>
                <c:pt idx="19">
                  <c:v>92.43</c:v>
                </c:pt>
                <c:pt idx="20">
                  <c:v>94.8</c:v>
                </c:pt>
                <c:pt idx="21">
                  <c:v>11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rPr lang="en-US"/>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rPr lang="en-US"/>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E$2:$E$23</c:f>
              <c:numCache>
                <c:formatCode>General</c:formatCode>
                <c:ptCount val="22"/>
                <c:pt idx="0">
                  <c:v>1.21</c:v>
                </c:pt>
                <c:pt idx="1">
                  <c:v>1.9649999999999999</c:v>
                </c:pt>
                <c:pt idx="2">
                  <c:v>3.96</c:v>
                </c:pt>
                <c:pt idx="3">
                  <c:v>3.9249999999999998</c:v>
                </c:pt>
                <c:pt idx="4">
                  <c:v>3.95</c:v>
                </c:pt>
                <c:pt idx="5">
                  <c:v>5.4749999999999996</c:v>
                </c:pt>
                <c:pt idx="6">
                  <c:v>6.21</c:v>
                </c:pt>
                <c:pt idx="7">
                  <c:v>8.58</c:v>
                </c:pt>
                <c:pt idx="8">
                  <c:v>10.4</c:v>
                </c:pt>
                <c:pt idx="9">
                  <c:v>15.32</c:v>
                </c:pt>
                <c:pt idx="10">
                  <c:v>13.675000000000001</c:v>
                </c:pt>
                <c:pt idx="11">
                  <c:v>15.414999999999999</c:v>
                </c:pt>
                <c:pt idx="12">
                  <c:v>30.115000000000002</c:v>
                </c:pt>
                <c:pt idx="13">
                  <c:v>31.49</c:v>
                </c:pt>
                <c:pt idx="14">
                  <c:v>29.575000000000003</c:v>
                </c:pt>
                <c:pt idx="15">
                  <c:v>24.365000000000002</c:v>
                </c:pt>
                <c:pt idx="16">
                  <c:v>32.064999999999998</c:v>
                </c:pt>
                <c:pt idx="17">
                  <c:v>26.535</c:v>
                </c:pt>
                <c:pt idx="18">
                  <c:v>44.08</c:v>
                </c:pt>
                <c:pt idx="19">
                  <c:v>97.07</c:v>
                </c:pt>
                <c:pt idx="20">
                  <c:v>95.585000000000008</c:v>
                </c:pt>
                <c:pt idx="21">
                  <c:v>131.2699999999999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scaling>
        <c:delete val="0"/>
        <c:axPos val="r"/>
        <c:numFmt formatCode="General"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B$2:$B$23</c:f>
              <c:numCache>
                <c:formatCode>General</c:formatCode>
                <c:ptCount val="22"/>
                <c:pt idx="0">
                  <c:v>13</c:v>
                </c:pt>
                <c:pt idx="1">
                  <c:v>1</c:v>
                </c:pt>
                <c:pt idx="2">
                  <c:v>5</c:v>
                </c:pt>
                <c:pt idx="3">
                  <c:v>14</c:v>
                </c:pt>
                <c:pt idx="4">
                  <c:v>123</c:v>
                </c:pt>
                <c:pt idx="5">
                  <c:v>0</c:v>
                </c:pt>
                <c:pt idx="6">
                  <c:v>0</c:v>
                </c:pt>
                <c:pt idx="7">
                  <c:v>0</c:v>
                </c:pt>
                <c:pt idx="8">
                  <c:v>13</c:v>
                </c:pt>
                <c:pt idx="9">
                  <c:v>0</c:v>
                </c:pt>
                <c:pt idx="10">
                  <c:v>0</c:v>
                </c:pt>
                <c:pt idx="11">
                  <c:v>0</c:v>
                </c:pt>
                <c:pt idx="12">
                  <c:v>0</c:v>
                </c:pt>
                <c:pt idx="13">
                  <c:v>0</c:v>
                </c:pt>
                <c:pt idx="14">
                  <c:v>0</c:v>
                </c:pt>
                <c:pt idx="15">
                  <c:v>1</c:v>
                </c:pt>
                <c:pt idx="16">
                  <c:v>0</c:v>
                </c:pt>
                <c:pt idx="17">
                  <c:v>8</c:v>
                </c:pt>
                <c:pt idx="18">
                  <c:v>0</c:v>
                </c:pt>
                <c:pt idx="19">
                  <c:v>0</c:v>
                </c:pt>
                <c:pt idx="20">
                  <c:v>6</c:v>
                </c:pt>
                <c:pt idx="21">
                  <c:v>0</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C$2:$C$23</c:f>
              <c:numCache>
                <c:formatCode>General</c:formatCode>
                <c:ptCount val="22"/>
                <c:pt idx="0">
                  <c:v>1.1399999999999999</c:v>
                </c:pt>
                <c:pt idx="1">
                  <c:v>2.15</c:v>
                </c:pt>
                <c:pt idx="2">
                  <c:v>4.46</c:v>
                </c:pt>
                <c:pt idx="3">
                  <c:v>4</c:v>
                </c:pt>
                <c:pt idx="4">
                  <c:v>3.95</c:v>
                </c:pt>
                <c:pt idx="5">
                  <c:v>6.9</c:v>
                </c:pt>
                <c:pt idx="6">
                  <c:v>7.58</c:v>
                </c:pt>
                <c:pt idx="7">
                  <c:v>8.27</c:v>
                </c:pt>
                <c:pt idx="8">
                  <c:v>10.92</c:v>
                </c:pt>
                <c:pt idx="9">
                  <c:v>18.79</c:v>
                </c:pt>
                <c:pt idx="10">
                  <c:v>15.11</c:v>
                </c:pt>
                <c:pt idx="11">
                  <c:v>16.61</c:v>
                </c:pt>
                <c:pt idx="12">
                  <c:v>39</c:v>
                </c:pt>
                <c:pt idx="13">
                  <c:v>38.69</c:v>
                </c:pt>
                <c:pt idx="14">
                  <c:v>34.56</c:v>
                </c:pt>
                <c:pt idx="15">
                  <c:v>22.36</c:v>
                </c:pt>
                <c:pt idx="16">
                  <c:v>35.590000000000003</c:v>
                </c:pt>
                <c:pt idx="17">
                  <c:v>22.95</c:v>
                </c:pt>
                <c:pt idx="18">
                  <c:v>45.5</c:v>
                </c:pt>
                <c:pt idx="19">
                  <c:v>101.71</c:v>
                </c:pt>
                <c:pt idx="20">
                  <c:v>96.37</c:v>
                </c:pt>
                <c:pt idx="21">
                  <c:v>144.0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D$2:$D$23</c:f>
              <c:numCache>
                <c:formatCode>General</c:formatCode>
                <c:ptCount val="22"/>
                <c:pt idx="0">
                  <c:v>1.28</c:v>
                </c:pt>
                <c:pt idx="1">
                  <c:v>1.78</c:v>
                </c:pt>
                <c:pt idx="2">
                  <c:v>3.46</c:v>
                </c:pt>
                <c:pt idx="3">
                  <c:v>3.85</c:v>
                </c:pt>
                <c:pt idx="4">
                  <c:v>3.95</c:v>
                </c:pt>
                <c:pt idx="5">
                  <c:v>4.05</c:v>
                </c:pt>
                <c:pt idx="6">
                  <c:v>4.84</c:v>
                </c:pt>
                <c:pt idx="7">
                  <c:v>8.89</c:v>
                </c:pt>
                <c:pt idx="8">
                  <c:v>9.8800000000000008</c:v>
                </c:pt>
                <c:pt idx="9">
                  <c:v>11.85</c:v>
                </c:pt>
                <c:pt idx="10">
                  <c:v>12.24</c:v>
                </c:pt>
                <c:pt idx="11">
                  <c:v>14.22</c:v>
                </c:pt>
                <c:pt idx="12">
                  <c:v>21.23</c:v>
                </c:pt>
                <c:pt idx="13">
                  <c:v>24.29</c:v>
                </c:pt>
                <c:pt idx="14">
                  <c:v>24.59</c:v>
                </c:pt>
                <c:pt idx="15">
                  <c:v>26.37</c:v>
                </c:pt>
                <c:pt idx="16">
                  <c:v>28.54</c:v>
                </c:pt>
                <c:pt idx="17">
                  <c:v>30.12</c:v>
                </c:pt>
                <c:pt idx="18">
                  <c:v>42.66</c:v>
                </c:pt>
                <c:pt idx="19">
                  <c:v>92.43</c:v>
                </c:pt>
                <c:pt idx="20">
                  <c:v>94.8</c:v>
                </c:pt>
                <c:pt idx="21">
                  <c:v>11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rPr lang="en-US"/>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rPr lang="en-US"/>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E$2:$E$23</c:f>
              <c:numCache>
                <c:formatCode>General</c:formatCode>
                <c:ptCount val="22"/>
                <c:pt idx="0">
                  <c:v>1.21</c:v>
                </c:pt>
                <c:pt idx="1">
                  <c:v>1.9649999999999999</c:v>
                </c:pt>
                <c:pt idx="2">
                  <c:v>3.96</c:v>
                </c:pt>
                <c:pt idx="3">
                  <c:v>3.9249999999999998</c:v>
                </c:pt>
                <c:pt idx="4">
                  <c:v>3.95</c:v>
                </c:pt>
                <c:pt idx="5">
                  <c:v>5.4749999999999996</c:v>
                </c:pt>
                <c:pt idx="6">
                  <c:v>6.21</c:v>
                </c:pt>
                <c:pt idx="7">
                  <c:v>8.58</c:v>
                </c:pt>
                <c:pt idx="8">
                  <c:v>10.4</c:v>
                </c:pt>
                <c:pt idx="9">
                  <c:v>15.32</c:v>
                </c:pt>
                <c:pt idx="10">
                  <c:v>13.675000000000001</c:v>
                </c:pt>
                <c:pt idx="11">
                  <c:v>15.414999999999999</c:v>
                </c:pt>
                <c:pt idx="12">
                  <c:v>30.115000000000002</c:v>
                </c:pt>
                <c:pt idx="13">
                  <c:v>31.49</c:v>
                </c:pt>
                <c:pt idx="14">
                  <c:v>29.575000000000003</c:v>
                </c:pt>
                <c:pt idx="15">
                  <c:v>24.365000000000002</c:v>
                </c:pt>
                <c:pt idx="16">
                  <c:v>32.064999999999998</c:v>
                </c:pt>
                <c:pt idx="17">
                  <c:v>26.535</c:v>
                </c:pt>
                <c:pt idx="18">
                  <c:v>44.08</c:v>
                </c:pt>
                <c:pt idx="19">
                  <c:v>97.07</c:v>
                </c:pt>
                <c:pt idx="20">
                  <c:v>95.585000000000008</c:v>
                </c:pt>
                <c:pt idx="21">
                  <c:v>131.2699999999999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scaling>
        <c:delete val="0"/>
        <c:axPos val="r"/>
        <c:numFmt formatCode="General"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B$2:$B$23</c:f>
              <c:numCache>
                <c:formatCode>General</c:formatCode>
                <c:ptCount val="22"/>
                <c:pt idx="0">
                  <c:v>13</c:v>
                </c:pt>
                <c:pt idx="1">
                  <c:v>1</c:v>
                </c:pt>
                <c:pt idx="2">
                  <c:v>5</c:v>
                </c:pt>
                <c:pt idx="3">
                  <c:v>14</c:v>
                </c:pt>
                <c:pt idx="4">
                  <c:v>123</c:v>
                </c:pt>
                <c:pt idx="5">
                  <c:v>0</c:v>
                </c:pt>
                <c:pt idx="6">
                  <c:v>0</c:v>
                </c:pt>
                <c:pt idx="7">
                  <c:v>0</c:v>
                </c:pt>
                <c:pt idx="8">
                  <c:v>13</c:v>
                </c:pt>
                <c:pt idx="9">
                  <c:v>0</c:v>
                </c:pt>
                <c:pt idx="10">
                  <c:v>0</c:v>
                </c:pt>
                <c:pt idx="11">
                  <c:v>0</c:v>
                </c:pt>
                <c:pt idx="12">
                  <c:v>0</c:v>
                </c:pt>
                <c:pt idx="13">
                  <c:v>0</c:v>
                </c:pt>
                <c:pt idx="14">
                  <c:v>0</c:v>
                </c:pt>
                <c:pt idx="15">
                  <c:v>1</c:v>
                </c:pt>
                <c:pt idx="16">
                  <c:v>0</c:v>
                </c:pt>
                <c:pt idx="17">
                  <c:v>8</c:v>
                </c:pt>
                <c:pt idx="18">
                  <c:v>0</c:v>
                </c:pt>
                <c:pt idx="19">
                  <c:v>0</c:v>
                </c:pt>
                <c:pt idx="20">
                  <c:v>6</c:v>
                </c:pt>
                <c:pt idx="21">
                  <c:v>0</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C$2:$C$23</c:f>
              <c:numCache>
                <c:formatCode>General</c:formatCode>
                <c:ptCount val="22"/>
                <c:pt idx="0">
                  <c:v>1.1399999999999999</c:v>
                </c:pt>
                <c:pt idx="1">
                  <c:v>2.15</c:v>
                </c:pt>
                <c:pt idx="2">
                  <c:v>4.46</c:v>
                </c:pt>
                <c:pt idx="3">
                  <c:v>4</c:v>
                </c:pt>
                <c:pt idx="4">
                  <c:v>3.95</c:v>
                </c:pt>
                <c:pt idx="5">
                  <c:v>6.9</c:v>
                </c:pt>
                <c:pt idx="6">
                  <c:v>7.58</c:v>
                </c:pt>
                <c:pt idx="7">
                  <c:v>8.27</c:v>
                </c:pt>
                <c:pt idx="8">
                  <c:v>10.92</c:v>
                </c:pt>
                <c:pt idx="9">
                  <c:v>18.79</c:v>
                </c:pt>
                <c:pt idx="10">
                  <c:v>15.11</c:v>
                </c:pt>
                <c:pt idx="11">
                  <c:v>16.61</c:v>
                </c:pt>
                <c:pt idx="12">
                  <c:v>39</c:v>
                </c:pt>
                <c:pt idx="13">
                  <c:v>38.69</c:v>
                </c:pt>
                <c:pt idx="14">
                  <c:v>34.56</c:v>
                </c:pt>
                <c:pt idx="15">
                  <c:v>22.36</c:v>
                </c:pt>
                <c:pt idx="16">
                  <c:v>35.590000000000003</c:v>
                </c:pt>
                <c:pt idx="17">
                  <c:v>22.95</c:v>
                </c:pt>
                <c:pt idx="18">
                  <c:v>45.5</c:v>
                </c:pt>
                <c:pt idx="19">
                  <c:v>101.71</c:v>
                </c:pt>
                <c:pt idx="20">
                  <c:v>96.37</c:v>
                </c:pt>
                <c:pt idx="21">
                  <c:v>144.0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D$2:$D$23</c:f>
              <c:numCache>
                <c:formatCode>General</c:formatCode>
                <c:ptCount val="22"/>
                <c:pt idx="0">
                  <c:v>1.28</c:v>
                </c:pt>
                <c:pt idx="1">
                  <c:v>1.78</c:v>
                </c:pt>
                <c:pt idx="2">
                  <c:v>3.46</c:v>
                </c:pt>
                <c:pt idx="3">
                  <c:v>3.85</c:v>
                </c:pt>
                <c:pt idx="4">
                  <c:v>3.95</c:v>
                </c:pt>
                <c:pt idx="5">
                  <c:v>4.05</c:v>
                </c:pt>
                <c:pt idx="6">
                  <c:v>4.84</c:v>
                </c:pt>
                <c:pt idx="7">
                  <c:v>8.89</c:v>
                </c:pt>
                <c:pt idx="8">
                  <c:v>9.8800000000000008</c:v>
                </c:pt>
                <c:pt idx="9">
                  <c:v>11.85</c:v>
                </c:pt>
                <c:pt idx="10">
                  <c:v>12.24</c:v>
                </c:pt>
                <c:pt idx="11">
                  <c:v>14.22</c:v>
                </c:pt>
                <c:pt idx="12">
                  <c:v>21.23</c:v>
                </c:pt>
                <c:pt idx="13">
                  <c:v>24.29</c:v>
                </c:pt>
                <c:pt idx="14">
                  <c:v>24.59</c:v>
                </c:pt>
                <c:pt idx="15">
                  <c:v>26.37</c:v>
                </c:pt>
                <c:pt idx="16">
                  <c:v>28.54</c:v>
                </c:pt>
                <c:pt idx="17">
                  <c:v>30.12</c:v>
                </c:pt>
                <c:pt idx="18">
                  <c:v>42.66</c:v>
                </c:pt>
                <c:pt idx="19">
                  <c:v>92.43</c:v>
                </c:pt>
                <c:pt idx="20">
                  <c:v>94.8</c:v>
                </c:pt>
                <c:pt idx="21">
                  <c:v>11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rPr lang="en-US"/>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rPr lang="en-US"/>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E$2:$E$23</c:f>
              <c:numCache>
                <c:formatCode>General</c:formatCode>
                <c:ptCount val="22"/>
                <c:pt idx="0">
                  <c:v>1.21</c:v>
                </c:pt>
                <c:pt idx="1">
                  <c:v>1.9649999999999999</c:v>
                </c:pt>
                <c:pt idx="2">
                  <c:v>3.96</c:v>
                </c:pt>
                <c:pt idx="3">
                  <c:v>3.9249999999999998</c:v>
                </c:pt>
                <c:pt idx="4">
                  <c:v>3.95</c:v>
                </c:pt>
                <c:pt idx="5">
                  <c:v>5.4749999999999996</c:v>
                </c:pt>
                <c:pt idx="6">
                  <c:v>6.21</c:v>
                </c:pt>
                <c:pt idx="7">
                  <c:v>8.58</c:v>
                </c:pt>
                <c:pt idx="8">
                  <c:v>10.4</c:v>
                </c:pt>
                <c:pt idx="9">
                  <c:v>15.32</c:v>
                </c:pt>
                <c:pt idx="10">
                  <c:v>13.675000000000001</c:v>
                </c:pt>
                <c:pt idx="11">
                  <c:v>15.414999999999999</c:v>
                </c:pt>
                <c:pt idx="12">
                  <c:v>30.115000000000002</c:v>
                </c:pt>
                <c:pt idx="13">
                  <c:v>31.49</c:v>
                </c:pt>
                <c:pt idx="14">
                  <c:v>29.575000000000003</c:v>
                </c:pt>
                <c:pt idx="15">
                  <c:v>24.365000000000002</c:v>
                </c:pt>
                <c:pt idx="16">
                  <c:v>32.064999999999998</c:v>
                </c:pt>
                <c:pt idx="17">
                  <c:v>26.535</c:v>
                </c:pt>
                <c:pt idx="18">
                  <c:v>44.08</c:v>
                </c:pt>
                <c:pt idx="19">
                  <c:v>97.07</c:v>
                </c:pt>
                <c:pt idx="20">
                  <c:v>95.585000000000008</c:v>
                </c:pt>
                <c:pt idx="21">
                  <c:v>131.2699999999999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scaling>
        <c:delete val="0"/>
        <c:axPos val="r"/>
        <c:numFmt formatCode="General"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11/08/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8/1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8/1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8/1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8/1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8/1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8/1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8/1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8/1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8/11/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8/11/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8/11/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8/11/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8/11/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8/11/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8/11/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8/11/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8/1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8/1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8/1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8/1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8/11/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8/1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8/11/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xml"/><Relationship Id="rId5" Type="http://schemas.openxmlformats.org/officeDocument/2006/relationships/chart" Target="../charts/chart1.xml"/><Relationship Id="rId4" Type="http://schemas.openxmlformats.org/officeDocument/2006/relationships/image" Target="../media/image28.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xml"/><Relationship Id="rId5" Type="http://schemas.openxmlformats.org/officeDocument/2006/relationships/chart" Target="../charts/chart10.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xml"/><Relationship Id="rId5" Type="http://schemas.openxmlformats.org/officeDocument/2006/relationships/chart" Target="../charts/chart11.xml"/><Relationship Id="rId4" Type="http://schemas.openxmlformats.org/officeDocument/2006/relationships/image" Target="../media/image28.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xml"/><Relationship Id="rId5" Type="http://schemas.openxmlformats.org/officeDocument/2006/relationships/chart" Target="../charts/chart12.xml"/><Relationship Id="rId4" Type="http://schemas.openxmlformats.org/officeDocument/2006/relationships/image" Target="../media/image28.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xml"/><Relationship Id="rId5" Type="http://schemas.openxmlformats.org/officeDocument/2006/relationships/chart" Target="../charts/chart13.xml"/><Relationship Id="rId4" Type="http://schemas.openxmlformats.org/officeDocument/2006/relationships/image" Target="../media/image28.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xml"/><Relationship Id="rId5" Type="http://schemas.openxmlformats.org/officeDocument/2006/relationships/chart" Target="../charts/chart14.xml"/><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xml"/><Relationship Id="rId5" Type="http://schemas.openxmlformats.org/officeDocument/2006/relationships/chart" Target="../charts/chart15.xml"/><Relationship Id="rId4" Type="http://schemas.openxmlformats.org/officeDocument/2006/relationships/image" Target="../media/image28.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xml"/><Relationship Id="rId5" Type="http://schemas.openxmlformats.org/officeDocument/2006/relationships/chart" Target="../charts/chart16.xml"/><Relationship Id="rId4" Type="http://schemas.openxmlformats.org/officeDocument/2006/relationships/image" Target="../media/image28.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xml"/><Relationship Id="rId5" Type="http://schemas.openxmlformats.org/officeDocument/2006/relationships/chart" Target="../charts/chart17.xml"/><Relationship Id="rId4" Type="http://schemas.openxmlformats.org/officeDocument/2006/relationships/image" Target="../media/image28.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xml"/><Relationship Id="rId5" Type="http://schemas.openxmlformats.org/officeDocument/2006/relationships/chart" Target="../charts/chart18.xml"/><Relationship Id="rId4" Type="http://schemas.openxmlformats.org/officeDocument/2006/relationships/image" Target="../media/image28.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xml"/><Relationship Id="rId5" Type="http://schemas.openxmlformats.org/officeDocument/2006/relationships/chart" Target="../charts/chart19.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xml"/><Relationship Id="rId5" Type="http://schemas.openxmlformats.org/officeDocument/2006/relationships/chart" Target="../charts/chart2.xml"/><Relationship Id="rId4" Type="http://schemas.openxmlformats.org/officeDocument/2006/relationships/image" Target="../media/image28.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xml"/><Relationship Id="rId5" Type="http://schemas.openxmlformats.org/officeDocument/2006/relationships/chart" Target="../charts/chart20.xml"/><Relationship Id="rId4" Type="http://schemas.openxmlformats.org/officeDocument/2006/relationships/image" Target="../media/image28.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xml"/><Relationship Id="rId5" Type="http://schemas.openxmlformats.org/officeDocument/2006/relationships/chart" Target="../charts/chart21.xml"/><Relationship Id="rId4" Type="http://schemas.openxmlformats.org/officeDocument/2006/relationships/image" Target="../media/image28.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xml"/><Relationship Id="rId5" Type="http://schemas.openxmlformats.org/officeDocument/2006/relationships/chart" Target="../charts/chart22.xml"/><Relationship Id="rId4" Type="http://schemas.openxmlformats.org/officeDocument/2006/relationships/image" Target="../media/image28.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xml"/><Relationship Id="rId5" Type="http://schemas.openxmlformats.org/officeDocument/2006/relationships/chart" Target="../charts/chart23.xml"/><Relationship Id="rId4" Type="http://schemas.openxmlformats.org/officeDocument/2006/relationships/image" Target="../media/image28.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xml"/><Relationship Id="rId5" Type="http://schemas.openxmlformats.org/officeDocument/2006/relationships/chart" Target="../charts/chart24.xml"/><Relationship Id="rId4" Type="http://schemas.openxmlformats.org/officeDocument/2006/relationships/image" Target="../media/image28.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xml"/><Relationship Id="rId5" Type="http://schemas.openxmlformats.org/officeDocument/2006/relationships/chart" Target="../charts/chart25.xml"/><Relationship Id="rId4" Type="http://schemas.openxmlformats.org/officeDocument/2006/relationships/image" Target="../media/image28.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xml"/><Relationship Id="rId5" Type="http://schemas.openxmlformats.org/officeDocument/2006/relationships/chart" Target="../charts/chart26.xml"/><Relationship Id="rId4" Type="http://schemas.openxmlformats.org/officeDocument/2006/relationships/image" Target="../media/image28.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xml"/><Relationship Id="rId5" Type="http://schemas.openxmlformats.org/officeDocument/2006/relationships/chart" Target="../charts/chart27.xml"/><Relationship Id="rId4" Type="http://schemas.openxmlformats.org/officeDocument/2006/relationships/image" Target="../media/image28.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xml"/><Relationship Id="rId5" Type="http://schemas.openxmlformats.org/officeDocument/2006/relationships/chart" Target="../charts/chart28.xml"/><Relationship Id="rId4" Type="http://schemas.openxmlformats.org/officeDocument/2006/relationships/image" Target="../media/image28.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xml"/><Relationship Id="rId5" Type="http://schemas.openxmlformats.org/officeDocument/2006/relationships/chart" Target="../charts/chart29.xml"/><Relationship Id="rId4" Type="http://schemas.openxmlformats.org/officeDocument/2006/relationships/image" Target="../media/image28.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xml"/><Relationship Id="rId5" Type="http://schemas.openxmlformats.org/officeDocument/2006/relationships/chart" Target="../charts/chart3.xml"/><Relationship Id="rId4" Type="http://schemas.openxmlformats.org/officeDocument/2006/relationships/image" Target="../media/image28.emf"/></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xml"/><Relationship Id="rId5" Type="http://schemas.openxmlformats.org/officeDocument/2006/relationships/chart" Target="../charts/chart30.xml"/><Relationship Id="rId4" Type="http://schemas.openxmlformats.org/officeDocument/2006/relationships/image" Target="../media/image28.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xml"/><Relationship Id="rId5" Type="http://schemas.openxmlformats.org/officeDocument/2006/relationships/chart" Target="../charts/chart31.xml"/><Relationship Id="rId4" Type="http://schemas.openxmlformats.org/officeDocument/2006/relationships/image" Target="../media/image28.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xml"/><Relationship Id="rId5" Type="http://schemas.openxmlformats.org/officeDocument/2006/relationships/chart" Target="../charts/chart32.xml"/><Relationship Id="rId4" Type="http://schemas.openxmlformats.org/officeDocument/2006/relationships/image" Target="../media/image28.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xml"/><Relationship Id="rId5" Type="http://schemas.openxmlformats.org/officeDocument/2006/relationships/chart" Target="../charts/chart33.xml"/><Relationship Id="rId4" Type="http://schemas.openxmlformats.org/officeDocument/2006/relationships/image" Target="../media/image28.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xml"/><Relationship Id="rId5" Type="http://schemas.openxmlformats.org/officeDocument/2006/relationships/chart" Target="../charts/chart34.xml"/><Relationship Id="rId4" Type="http://schemas.openxmlformats.org/officeDocument/2006/relationships/image" Target="../media/image28.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xml"/><Relationship Id="rId5" Type="http://schemas.openxmlformats.org/officeDocument/2006/relationships/chart" Target="../charts/chart35.xml"/><Relationship Id="rId4" Type="http://schemas.openxmlformats.org/officeDocument/2006/relationships/image" Target="../media/image28.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xml"/><Relationship Id="rId5" Type="http://schemas.openxmlformats.org/officeDocument/2006/relationships/chart" Target="../charts/chart36.xml"/><Relationship Id="rId4" Type="http://schemas.openxmlformats.org/officeDocument/2006/relationships/image" Target="../media/image28.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xml"/><Relationship Id="rId5" Type="http://schemas.openxmlformats.org/officeDocument/2006/relationships/chart" Target="../charts/chart37.xml"/><Relationship Id="rId4" Type="http://schemas.openxmlformats.org/officeDocument/2006/relationships/image" Target="../media/image28.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xml"/><Relationship Id="rId5" Type="http://schemas.openxmlformats.org/officeDocument/2006/relationships/chart" Target="../charts/chart38.xml"/><Relationship Id="rId4" Type="http://schemas.openxmlformats.org/officeDocument/2006/relationships/image" Target="../media/image28.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xml"/><Relationship Id="rId5" Type="http://schemas.openxmlformats.org/officeDocument/2006/relationships/chart" Target="../charts/chart39.xml"/><Relationship Id="rId4" Type="http://schemas.openxmlformats.org/officeDocument/2006/relationships/image" Target="../media/image28.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xml"/><Relationship Id="rId5" Type="http://schemas.openxmlformats.org/officeDocument/2006/relationships/chart" Target="../charts/chart4.xml"/><Relationship Id="rId4" Type="http://schemas.openxmlformats.org/officeDocument/2006/relationships/image" Target="../media/image28.emf"/></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xml"/><Relationship Id="rId5" Type="http://schemas.openxmlformats.org/officeDocument/2006/relationships/chart" Target="../charts/chart40.xml"/><Relationship Id="rId4" Type="http://schemas.openxmlformats.org/officeDocument/2006/relationships/image" Target="../media/image28.e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xml"/><Relationship Id="rId5" Type="http://schemas.openxmlformats.org/officeDocument/2006/relationships/chart" Target="../charts/chart41.xml"/><Relationship Id="rId4" Type="http://schemas.openxmlformats.org/officeDocument/2006/relationships/image" Target="../media/image28.emf"/></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xml"/><Relationship Id="rId5" Type="http://schemas.openxmlformats.org/officeDocument/2006/relationships/chart" Target="../charts/chart42.xml"/><Relationship Id="rId4" Type="http://schemas.openxmlformats.org/officeDocument/2006/relationships/image" Target="../media/image28.emf"/></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xml"/><Relationship Id="rId5" Type="http://schemas.openxmlformats.org/officeDocument/2006/relationships/chart" Target="../charts/chart43.xml"/><Relationship Id="rId4" Type="http://schemas.openxmlformats.org/officeDocument/2006/relationships/image" Target="../media/image28.emf"/></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xml"/><Relationship Id="rId5" Type="http://schemas.openxmlformats.org/officeDocument/2006/relationships/chart" Target="../charts/chart44.xml"/><Relationship Id="rId4" Type="http://schemas.openxmlformats.org/officeDocument/2006/relationships/image" Target="../media/image28.emf"/></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xml"/><Relationship Id="rId5" Type="http://schemas.openxmlformats.org/officeDocument/2006/relationships/chart" Target="../charts/chart45.xml"/><Relationship Id="rId4" Type="http://schemas.openxmlformats.org/officeDocument/2006/relationships/image" Target="../media/image28.emf"/></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xml"/><Relationship Id="rId5" Type="http://schemas.openxmlformats.org/officeDocument/2006/relationships/chart" Target="../charts/chart46.xml"/><Relationship Id="rId4" Type="http://schemas.openxmlformats.org/officeDocument/2006/relationships/image" Target="../media/image28.emf"/></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xml"/><Relationship Id="rId5" Type="http://schemas.openxmlformats.org/officeDocument/2006/relationships/chart" Target="../charts/chart47.xml"/><Relationship Id="rId4" Type="http://schemas.openxmlformats.org/officeDocument/2006/relationships/image" Target="../media/image28.emf"/></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xml"/><Relationship Id="rId5" Type="http://schemas.openxmlformats.org/officeDocument/2006/relationships/chart" Target="../charts/chart48.xml"/><Relationship Id="rId4" Type="http://schemas.openxmlformats.org/officeDocument/2006/relationships/image" Target="../media/image28.emf"/></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xml"/><Relationship Id="rId5" Type="http://schemas.openxmlformats.org/officeDocument/2006/relationships/chart" Target="../charts/chart49.xml"/><Relationship Id="rId4" Type="http://schemas.openxmlformats.org/officeDocument/2006/relationships/image" Target="../media/image28.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xml"/><Relationship Id="rId5" Type="http://schemas.openxmlformats.org/officeDocument/2006/relationships/chart" Target="../charts/chart5.xml"/><Relationship Id="rId4" Type="http://schemas.openxmlformats.org/officeDocument/2006/relationships/image" Target="../media/image28.emf"/></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7.xml"/><Relationship Id="rId5" Type="http://schemas.openxmlformats.org/officeDocument/2006/relationships/chart" Target="../charts/chart50.xml"/><Relationship Id="rId4" Type="http://schemas.openxmlformats.org/officeDocument/2006/relationships/image" Target="../media/image28.emf"/></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8.xml"/><Relationship Id="rId5" Type="http://schemas.openxmlformats.org/officeDocument/2006/relationships/chart" Target="../charts/chart51.xml"/><Relationship Id="rId4" Type="http://schemas.openxmlformats.org/officeDocument/2006/relationships/image" Target="../media/image28.emf"/></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9.xml"/><Relationship Id="rId5" Type="http://schemas.openxmlformats.org/officeDocument/2006/relationships/chart" Target="../charts/chart52.xml"/><Relationship Id="rId4" Type="http://schemas.openxmlformats.org/officeDocument/2006/relationships/image" Target="../media/image28.emf"/></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0.xml"/><Relationship Id="rId5" Type="http://schemas.openxmlformats.org/officeDocument/2006/relationships/chart" Target="../charts/chart53.xml"/><Relationship Id="rId4" Type="http://schemas.openxmlformats.org/officeDocument/2006/relationships/image" Target="../media/image28.emf"/></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1.xml"/><Relationship Id="rId5" Type="http://schemas.openxmlformats.org/officeDocument/2006/relationships/chart" Target="../charts/chart54.xml"/><Relationship Id="rId4" Type="http://schemas.openxmlformats.org/officeDocument/2006/relationships/image" Target="../media/image28.emf"/></Relationships>
</file>

<file path=ppt/slides/_rels/slide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2.xml"/><Relationship Id="rId5" Type="http://schemas.openxmlformats.org/officeDocument/2006/relationships/chart" Target="../charts/chart55.xml"/><Relationship Id="rId4" Type="http://schemas.openxmlformats.org/officeDocument/2006/relationships/image" Target="../media/image28.emf"/></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3.xml"/><Relationship Id="rId5" Type="http://schemas.openxmlformats.org/officeDocument/2006/relationships/chart" Target="../charts/chart56.xml"/><Relationship Id="rId4" Type="http://schemas.openxmlformats.org/officeDocument/2006/relationships/image" Target="../media/image28.emf"/></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4.xml"/><Relationship Id="rId5" Type="http://schemas.openxmlformats.org/officeDocument/2006/relationships/chart" Target="../charts/chart57.xml"/><Relationship Id="rId4" Type="http://schemas.openxmlformats.org/officeDocument/2006/relationships/image" Target="../media/image28.emf"/></Relationships>
</file>

<file path=ppt/slides/_rels/slide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5.xml"/><Relationship Id="rId5" Type="http://schemas.openxmlformats.org/officeDocument/2006/relationships/chart" Target="../charts/chart58.xml"/><Relationship Id="rId4" Type="http://schemas.openxmlformats.org/officeDocument/2006/relationships/image" Target="../media/image28.emf"/></Relationships>
</file>

<file path=ppt/slides/_rels/slide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6.xml"/><Relationship Id="rId5" Type="http://schemas.openxmlformats.org/officeDocument/2006/relationships/chart" Target="../charts/chart59.xml"/><Relationship Id="rId4" Type="http://schemas.openxmlformats.org/officeDocument/2006/relationships/image" Target="../media/image28.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xml"/><Relationship Id="rId5" Type="http://schemas.openxmlformats.org/officeDocument/2006/relationships/chart" Target="../charts/chart6.xml"/><Relationship Id="rId4" Type="http://schemas.openxmlformats.org/officeDocument/2006/relationships/image" Target="../media/image28.emf"/></Relationships>
</file>

<file path=ppt/slides/_rels/slide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7.xml"/><Relationship Id="rId5" Type="http://schemas.openxmlformats.org/officeDocument/2006/relationships/chart" Target="../charts/chart60.xml"/><Relationship Id="rId4" Type="http://schemas.openxmlformats.org/officeDocument/2006/relationships/image" Target="../media/image28.emf"/></Relationships>
</file>

<file path=ppt/slides/_rels/slide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8.xml"/><Relationship Id="rId5" Type="http://schemas.openxmlformats.org/officeDocument/2006/relationships/chart" Target="../charts/chart61.xml"/><Relationship Id="rId4" Type="http://schemas.openxmlformats.org/officeDocument/2006/relationships/image" Target="../media/image28.emf"/></Relationships>
</file>

<file path=ppt/slides/_rels/slide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9.xml"/><Relationship Id="rId5" Type="http://schemas.openxmlformats.org/officeDocument/2006/relationships/chart" Target="../charts/chart62.xml"/><Relationship Id="rId4" Type="http://schemas.openxmlformats.org/officeDocument/2006/relationships/image" Target="../media/image28.emf"/></Relationships>
</file>

<file path=ppt/slides/_rels/slide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0.xml"/><Relationship Id="rId5" Type="http://schemas.openxmlformats.org/officeDocument/2006/relationships/chart" Target="../charts/chart63.xml"/><Relationship Id="rId4" Type="http://schemas.openxmlformats.org/officeDocument/2006/relationships/image" Target="../media/image28.emf"/></Relationships>
</file>

<file path=ppt/slides/_rels/slide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1.xml"/><Relationship Id="rId5" Type="http://schemas.openxmlformats.org/officeDocument/2006/relationships/chart" Target="../charts/chart64.xml"/><Relationship Id="rId4" Type="http://schemas.openxmlformats.org/officeDocument/2006/relationships/image" Target="../media/image28.emf"/></Relationships>
</file>

<file path=ppt/slides/_rels/slide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2.xml"/><Relationship Id="rId5" Type="http://schemas.openxmlformats.org/officeDocument/2006/relationships/chart" Target="../charts/chart65.xml"/><Relationship Id="rId4" Type="http://schemas.openxmlformats.org/officeDocument/2006/relationships/image" Target="../media/image28.emf"/></Relationships>
</file>

<file path=ppt/slides/_rels/slide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3.xml"/><Relationship Id="rId5" Type="http://schemas.openxmlformats.org/officeDocument/2006/relationships/chart" Target="../charts/chart66.xml"/><Relationship Id="rId4" Type="http://schemas.openxmlformats.org/officeDocument/2006/relationships/image" Target="../media/image28.emf"/></Relationships>
</file>

<file path=ppt/slides/_rels/slide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4.xml"/><Relationship Id="rId5" Type="http://schemas.openxmlformats.org/officeDocument/2006/relationships/chart" Target="../charts/chart67.xml"/><Relationship Id="rId4" Type="http://schemas.openxmlformats.org/officeDocument/2006/relationships/image" Target="../media/image28.emf"/></Relationships>
</file>

<file path=ppt/slides/_rels/slide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5.xml"/><Relationship Id="rId5" Type="http://schemas.openxmlformats.org/officeDocument/2006/relationships/chart" Target="../charts/chart68.xml"/><Relationship Id="rId4" Type="http://schemas.openxmlformats.org/officeDocument/2006/relationships/image" Target="../media/image28.emf"/></Relationships>
</file>

<file path=ppt/slides/_rels/slide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6.xml"/><Relationship Id="rId5" Type="http://schemas.openxmlformats.org/officeDocument/2006/relationships/chart" Target="../charts/chart69.xml"/><Relationship Id="rId4" Type="http://schemas.openxmlformats.org/officeDocument/2006/relationships/image" Target="../media/image28.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xml"/><Relationship Id="rId5" Type="http://schemas.openxmlformats.org/officeDocument/2006/relationships/chart" Target="../charts/chart7.xml"/><Relationship Id="rId4" Type="http://schemas.openxmlformats.org/officeDocument/2006/relationships/image" Target="../media/image28.emf"/></Relationships>
</file>

<file path=ppt/slides/_rels/slide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7.xml"/><Relationship Id="rId5" Type="http://schemas.openxmlformats.org/officeDocument/2006/relationships/chart" Target="../charts/chart70.xml"/><Relationship Id="rId4" Type="http://schemas.openxmlformats.org/officeDocument/2006/relationships/image" Target="../media/image28.emf"/></Relationships>
</file>

<file path=ppt/slides/_rels/slide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8.xml"/><Relationship Id="rId5" Type="http://schemas.openxmlformats.org/officeDocument/2006/relationships/chart" Target="../charts/chart71.xml"/><Relationship Id="rId4" Type="http://schemas.openxmlformats.org/officeDocument/2006/relationships/image" Target="../media/image28.emf"/></Relationships>
</file>

<file path=ppt/slides/_rels/slide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9.xml"/><Relationship Id="rId5" Type="http://schemas.openxmlformats.org/officeDocument/2006/relationships/chart" Target="../charts/chart72.xml"/><Relationship Id="rId4" Type="http://schemas.openxmlformats.org/officeDocument/2006/relationships/image" Target="../media/image28.emf"/></Relationships>
</file>

<file path=ppt/slides/_rels/slide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0.xml"/><Relationship Id="rId5" Type="http://schemas.openxmlformats.org/officeDocument/2006/relationships/chart" Target="../charts/chart73.xml"/><Relationship Id="rId4" Type="http://schemas.openxmlformats.org/officeDocument/2006/relationships/image" Target="../media/image28.emf"/></Relationships>
</file>

<file path=ppt/slides/_rels/slide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1.xml"/><Relationship Id="rId5" Type="http://schemas.openxmlformats.org/officeDocument/2006/relationships/chart" Target="../charts/chart74.xml"/><Relationship Id="rId4" Type="http://schemas.openxmlformats.org/officeDocument/2006/relationships/image" Target="../media/image28.emf"/></Relationships>
</file>

<file path=ppt/slides/_rels/slide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2.xml"/><Relationship Id="rId5" Type="http://schemas.openxmlformats.org/officeDocument/2006/relationships/chart" Target="../charts/chart75.xml"/><Relationship Id="rId4" Type="http://schemas.openxmlformats.org/officeDocument/2006/relationships/image" Target="../media/image28.emf"/></Relationships>
</file>

<file path=ppt/slides/_rels/slide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3.xml"/><Relationship Id="rId5" Type="http://schemas.openxmlformats.org/officeDocument/2006/relationships/chart" Target="../charts/chart76.xml"/><Relationship Id="rId4" Type="http://schemas.openxmlformats.org/officeDocument/2006/relationships/image" Target="../media/image28.emf"/></Relationships>
</file>

<file path=ppt/slides/_rels/slide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4.xml"/><Relationship Id="rId5" Type="http://schemas.openxmlformats.org/officeDocument/2006/relationships/chart" Target="../charts/chart77.xml"/><Relationship Id="rId4" Type="http://schemas.openxmlformats.org/officeDocument/2006/relationships/image" Target="../media/image28.emf"/></Relationships>
</file>

<file path=ppt/slides/_rels/slide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5.xml"/><Relationship Id="rId5" Type="http://schemas.openxmlformats.org/officeDocument/2006/relationships/chart" Target="../charts/chart78.xml"/><Relationship Id="rId4" Type="http://schemas.openxmlformats.org/officeDocument/2006/relationships/image" Target="../media/image28.emf"/></Relationships>
</file>

<file path=ppt/slides/_rels/slide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6.xml"/><Relationship Id="rId5" Type="http://schemas.openxmlformats.org/officeDocument/2006/relationships/chart" Target="../charts/chart79.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xml"/><Relationship Id="rId5" Type="http://schemas.openxmlformats.org/officeDocument/2006/relationships/chart" Target="../charts/chart8.xml"/><Relationship Id="rId4" Type="http://schemas.openxmlformats.org/officeDocument/2006/relationships/image" Target="../media/image28.emf"/></Relationships>
</file>

<file path=ppt/slides/_rels/slide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7.xml"/><Relationship Id="rId5" Type="http://schemas.openxmlformats.org/officeDocument/2006/relationships/chart" Target="../charts/chart80.xml"/><Relationship Id="rId4" Type="http://schemas.openxmlformats.org/officeDocument/2006/relationships/image" Target="../media/image28.emf"/></Relationships>
</file>

<file path=ppt/slides/_rels/slide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8.xml"/><Relationship Id="rId5" Type="http://schemas.openxmlformats.org/officeDocument/2006/relationships/chart" Target="../charts/chart81.xml"/><Relationship Id="rId4" Type="http://schemas.openxmlformats.org/officeDocument/2006/relationships/image" Target="../media/image28.emf"/></Relationships>
</file>

<file path=ppt/slides/_rels/slide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9.xml"/><Relationship Id="rId5" Type="http://schemas.openxmlformats.org/officeDocument/2006/relationships/chart" Target="../charts/chart82.xml"/><Relationship Id="rId4" Type="http://schemas.openxmlformats.org/officeDocument/2006/relationships/image" Target="../media/image28.emf"/></Relationships>
</file>

<file path=ppt/slides/_rels/slide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0.xml"/><Relationship Id="rId5" Type="http://schemas.openxmlformats.org/officeDocument/2006/relationships/chart" Target="../charts/chart83.xml"/><Relationship Id="rId4" Type="http://schemas.openxmlformats.org/officeDocument/2006/relationships/image" Target="../media/image28.emf"/></Relationships>
</file>

<file path=ppt/slides/_rels/slide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1.xml"/><Relationship Id="rId5" Type="http://schemas.openxmlformats.org/officeDocument/2006/relationships/chart" Target="../charts/chart84.xml"/><Relationship Id="rId4" Type="http://schemas.openxmlformats.org/officeDocument/2006/relationships/image" Target="../media/image28.emf"/></Relationships>
</file>

<file path=ppt/slides/_rels/slide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2.xml"/><Relationship Id="rId5" Type="http://schemas.openxmlformats.org/officeDocument/2006/relationships/chart" Target="../charts/chart85.xml"/><Relationship Id="rId4" Type="http://schemas.openxmlformats.org/officeDocument/2006/relationships/image" Target="../media/image28.emf"/></Relationships>
</file>

<file path=ppt/slides/_rels/slide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3.xml"/><Relationship Id="rId5" Type="http://schemas.openxmlformats.org/officeDocument/2006/relationships/chart" Target="../charts/chart86.xml"/><Relationship Id="rId4" Type="http://schemas.openxmlformats.org/officeDocument/2006/relationships/image" Target="../media/image28.emf"/></Relationships>
</file>

<file path=ppt/slides/_rels/slide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4.xml"/><Relationship Id="rId5" Type="http://schemas.openxmlformats.org/officeDocument/2006/relationships/chart" Target="../charts/chart87.xml"/><Relationship Id="rId4" Type="http://schemas.openxmlformats.org/officeDocument/2006/relationships/image" Target="../media/image28.emf"/></Relationships>
</file>

<file path=ppt/slides/_rels/slide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5.xml"/><Relationship Id="rId5" Type="http://schemas.openxmlformats.org/officeDocument/2006/relationships/chart" Target="../charts/chart88.xml"/><Relationship Id="rId4" Type="http://schemas.openxmlformats.org/officeDocument/2006/relationships/image" Target="../media/image28.emf"/></Relationships>
</file>

<file path=ppt/slides/_rels/slide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6.xml"/><Relationship Id="rId5" Type="http://schemas.openxmlformats.org/officeDocument/2006/relationships/chart" Target="../charts/chart89.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xml"/><Relationship Id="rId5" Type="http://schemas.openxmlformats.org/officeDocument/2006/relationships/chart" Target="../charts/chart9.xml"/><Relationship Id="rId4" Type="http://schemas.openxmlformats.org/officeDocument/2006/relationships/image" Target="../media/image2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r>
              <a:rPr lang="en-US" dirty="0"/>
              <a:t>Inter-size Discount  | </a:t>
            </a:r>
            <a:r>
              <a:rPr lang="en-US" dirty="0">
                <a:highlight>
                  <a:srgbClr val="FFFF00"/>
                </a:highlight>
              </a:rPr>
              <a:t>Variant</a:t>
            </a:r>
            <a:r>
              <a:rPr lang="en-US" dirty="0"/>
              <a:t> | </a:t>
            </a:r>
            <a:r>
              <a:rPr lang="en-US" dirty="0">
                <a:highlight>
                  <a:srgbClr val="FFFF00"/>
                </a:highlight>
              </a:rPr>
              <a:t>National</a:t>
            </a:r>
            <a:r>
              <a:rPr lang="en-US" dirty="0"/>
              <a:t> | P12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2800073758"/>
              </p:ext>
            </p:extLst>
          </p:nvPr>
        </p:nvGraphicFramePr>
        <p:xfrm>
          <a:off x="555229" y="4265104"/>
          <a:ext cx="7441138"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95492">
                  <a:extLst>
                    <a:ext uri="{9D8B030D-6E8A-4147-A177-3AD203B41FA5}">
                      <a16:colId xmlns:a16="http://schemas.microsoft.com/office/drawing/2014/main" val="2253286919"/>
                    </a:ext>
                  </a:extLst>
                </a:gridCol>
                <a:gridCol w="295492">
                  <a:extLst>
                    <a:ext uri="{9D8B030D-6E8A-4147-A177-3AD203B41FA5}">
                      <a16:colId xmlns:a16="http://schemas.microsoft.com/office/drawing/2014/main" val="2739285047"/>
                    </a:ext>
                  </a:extLst>
                </a:gridCol>
                <a:gridCol w="295492">
                  <a:extLst>
                    <a:ext uri="{9D8B030D-6E8A-4147-A177-3AD203B41FA5}">
                      <a16:colId xmlns:a16="http://schemas.microsoft.com/office/drawing/2014/main" val="686050863"/>
                    </a:ext>
                  </a:extLst>
                </a:gridCol>
                <a:gridCol w="295492">
                  <a:extLst>
                    <a:ext uri="{9D8B030D-6E8A-4147-A177-3AD203B41FA5}">
                      <a16:colId xmlns:a16="http://schemas.microsoft.com/office/drawing/2014/main" val="3765127706"/>
                    </a:ext>
                  </a:extLst>
                </a:gridCol>
                <a:gridCol w="295492">
                  <a:extLst>
                    <a:ext uri="{9D8B030D-6E8A-4147-A177-3AD203B41FA5}">
                      <a16:colId xmlns:a16="http://schemas.microsoft.com/office/drawing/2014/main" val="273303937"/>
                    </a:ext>
                  </a:extLst>
                </a:gridCol>
                <a:gridCol w="295492">
                  <a:extLst>
                    <a:ext uri="{9D8B030D-6E8A-4147-A177-3AD203B41FA5}">
                      <a16:colId xmlns:a16="http://schemas.microsoft.com/office/drawing/2014/main" val="1190134658"/>
                    </a:ext>
                  </a:extLst>
                </a:gridCol>
                <a:gridCol w="295492">
                  <a:extLst>
                    <a:ext uri="{9D8B030D-6E8A-4147-A177-3AD203B41FA5}">
                      <a16:colId xmlns:a16="http://schemas.microsoft.com/office/drawing/2014/main" val="1152288185"/>
                    </a:ext>
                  </a:extLst>
                </a:gridCol>
                <a:gridCol w="295492">
                  <a:extLst>
                    <a:ext uri="{9D8B030D-6E8A-4147-A177-3AD203B41FA5}">
                      <a16:colId xmlns:a16="http://schemas.microsoft.com/office/drawing/2014/main" val="1888319813"/>
                    </a:ext>
                  </a:extLst>
                </a:gridCol>
                <a:gridCol w="295492">
                  <a:extLst>
                    <a:ext uri="{9D8B030D-6E8A-4147-A177-3AD203B41FA5}">
                      <a16:colId xmlns:a16="http://schemas.microsoft.com/office/drawing/2014/main" val="3471064540"/>
                    </a:ext>
                  </a:extLst>
                </a:gridCol>
                <a:gridCol w="295492">
                  <a:extLst>
                    <a:ext uri="{9D8B030D-6E8A-4147-A177-3AD203B41FA5}">
                      <a16:colId xmlns:a16="http://schemas.microsoft.com/office/drawing/2014/main" val="670551899"/>
                    </a:ext>
                  </a:extLst>
                </a:gridCol>
                <a:gridCol w="295492">
                  <a:extLst>
                    <a:ext uri="{9D8B030D-6E8A-4147-A177-3AD203B41FA5}">
                      <a16:colId xmlns:a16="http://schemas.microsoft.com/office/drawing/2014/main" val="1100152168"/>
                    </a:ext>
                  </a:extLst>
                </a:gridCol>
                <a:gridCol w="295492">
                  <a:extLst>
                    <a:ext uri="{9D8B030D-6E8A-4147-A177-3AD203B41FA5}">
                      <a16:colId xmlns:a16="http://schemas.microsoft.com/office/drawing/2014/main" val="2165801595"/>
                    </a:ext>
                  </a:extLst>
                </a:gridCol>
                <a:gridCol w="295492">
                  <a:extLst>
                    <a:ext uri="{9D8B030D-6E8A-4147-A177-3AD203B41FA5}">
                      <a16:colId xmlns:a16="http://schemas.microsoft.com/office/drawing/2014/main" val="3981167565"/>
                    </a:ext>
                  </a:extLst>
                </a:gridCol>
                <a:gridCol w="295492">
                  <a:extLst>
                    <a:ext uri="{9D8B030D-6E8A-4147-A177-3AD203B41FA5}">
                      <a16:colId xmlns:a16="http://schemas.microsoft.com/office/drawing/2014/main" val="2740792325"/>
                    </a:ext>
                  </a:extLst>
                </a:gridCol>
                <a:gridCol w="295492">
                  <a:extLst>
                    <a:ext uri="{9D8B030D-6E8A-4147-A177-3AD203B41FA5}">
                      <a16:colId xmlns:a16="http://schemas.microsoft.com/office/drawing/2014/main" val="54782936"/>
                    </a:ext>
                  </a:extLst>
                </a:gridCol>
                <a:gridCol w="295492">
                  <a:extLst>
                    <a:ext uri="{9D8B030D-6E8A-4147-A177-3AD203B41FA5}">
                      <a16:colId xmlns:a16="http://schemas.microsoft.com/office/drawing/2014/main" val="154020430"/>
                    </a:ext>
                  </a:extLst>
                </a:gridCol>
                <a:gridCol w="295492">
                  <a:extLst>
                    <a:ext uri="{9D8B030D-6E8A-4147-A177-3AD203B41FA5}">
                      <a16:colId xmlns:a16="http://schemas.microsoft.com/office/drawing/2014/main" val="3928813835"/>
                    </a:ext>
                  </a:extLst>
                </a:gridCol>
                <a:gridCol w="295492">
                  <a:extLst>
                    <a:ext uri="{9D8B030D-6E8A-4147-A177-3AD203B41FA5}">
                      <a16:colId xmlns:a16="http://schemas.microsoft.com/office/drawing/2014/main" val="4210253042"/>
                    </a:ext>
                  </a:extLst>
                </a:gridCol>
                <a:gridCol w="295492">
                  <a:extLst>
                    <a:ext uri="{9D8B030D-6E8A-4147-A177-3AD203B41FA5}">
                      <a16:colId xmlns:a16="http://schemas.microsoft.com/office/drawing/2014/main" val="895787419"/>
                    </a:ext>
                  </a:extLst>
                </a:gridCol>
                <a:gridCol w="295492">
                  <a:extLst>
                    <a:ext uri="{9D8B030D-6E8A-4147-A177-3AD203B41FA5}">
                      <a16:colId xmlns:a16="http://schemas.microsoft.com/office/drawing/2014/main" val="3828388578"/>
                    </a:ext>
                  </a:extLst>
                </a:gridCol>
                <a:gridCol w="295492">
                  <a:extLst>
                    <a:ext uri="{9D8B030D-6E8A-4147-A177-3AD203B41FA5}">
                      <a16:colId xmlns:a16="http://schemas.microsoft.com/office/drawing/2014/main" val="742550205"/>
                    </a:ext>
                  </a:extLst>
                </a:gridCol>
                <a:gridCol w="295492">
                  <a:extLst>
                    <a:ext uri="{9D8B030D-6E8A-4147-A177-3AD203B41FA5}">
                      <a16:colId xmlns:a16="http://schemas.microsoft.com/office/drawing/2014/main" val="1408879461"/>
                    </a:ext>
                  </a:extLst>
                </a:gridCol>
              </a:tblGrid>
              <a:tr h="251292">
                <a:tc>
                  <a:txBody>
                    <a:bodyPr/>
                    <a:lstStyle/>
                    <a:p>
                      <a:r>
                        <a:rPr lang="en-US" sz="800" b="1" i="0" dirty="0">
                          <a:solidFill>
                            <a:schemeClr val="bg1"/>
                          </a:solidFill>
                          <a:latin typeface="+mj-lt"/>
                        </a:rPr>
                        <a:t>Sales </a:t>
                      </a:r>
                      <a:r>
                        <a:rPr lang="en-US" sz="800" b="1" i="0">
                          <a:solidFill>
                            <a:schemeClr val="bg1"/>
                          </a:solidFill>
                          <a:latin typeface="+mj-lt"/>
                        </a:rPr>
                        <a:t>Vs. 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rPr dirty="0"/>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rPr dirty="0"/>
                        <a:t>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helf </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Price</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Unit</a:t>
            </a:r>
          </a:p>
          <a:p>
            <a:pPr marL="0" marR="0" lvl="0" indent="0" defTabSz="685749"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Nexa Bold" panose="00000800000000000000" pitchFamily="2" charset="0"/>
              </a:rPr>
              <a:t>(</a:t>
            </a:r>
            <a:r>
              <a:rPr lang="en-US" sz="800" dirty="0">
                <a:solidFill>
                  <a:schemeClr val="tx1"/>
                </a:solidFill>
                <a:highlight>
                  <a:srgbClr val="FFFF00"/>
                </a:highlight>
                <a:latin typeface="Nexa Bold" panose="00000800000000000000" pitchFamily="2" charset="0"/>
              </a:rPr>
              <a:t>€</a:t>
            </a:r>
            <a:r>
              <a:rPr lang="en-US" sz="800" dirty="0">
                <a:solidFill>
                  <a:schemeClr val="tx1"/>
                </a:solidFill>
                <a:latin typeface="Nexa Bold" panose="00000800000000000000" pitchFamily="2" charset="0"/>
              </a:rPr>
              <a:t>)</a:t>
            </a:r>
            <a:endPar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endParaRP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Value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ales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M)</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8/11/2025</a:t>
            </a:fld>
            <a:endParaRPr lang="en-US" sz="500"/>
          </a:p>
        </p:txBody>
      </p:sp>
    </p:spTree>
    <p:extLst>
      <p:ext uri="{BB962C8B-B14F-4D97-AF65-F5344CB8AC3E}">
        <p14:creationId xmlns:p14="http://schemas.microsoft.com/office/powerpoint/2010/main" val="110828892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r>
              <a:rPr lang="en-US" dirty="0"/>
              <a:t>Inter-size Discount  | </a:t>
            </a:r>
            <a:r>
              <a:rPr lang="en-US" dirty="0">
                <a:highlight>
                  <a:srgbClr val="FFFF00"/>
                </a:highlight>
              </a:rPr>
              <a:t>Variant</a:t>
            </a:r>
            <a:r>
              <a:rPr lang="en-US" dirty="0"/>
              <a:t> | </a:t>
            </a:r>
            <a:r>
              <a:rPr lang="en-US" dirty="0">
                <a:highlight>
                  <a:srgbClr val="FFFF00"/>
                </a:highlight>
              </a:rPr>
              <a:t>National</a:t>
            </a:r>
            <a:r>
              <a:rPr lang="en-US" dirty="0"/>
              <a:t> | P12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2800073758"/>
              </p:ext>
            </p:extLst>
          </p:nvPr>
        </p:nvGraphicFramePr>
        <p:xfrm>
          <a:off x="555229" y="4265104"/>
          <a:ext cx="7441138"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95492">
                  <a:extLst>
                    <a:ext uri="{9D8B030D-6E8A-4147-A177-3AD203B41FA5}">
                      <a16:colId xmlns:a16="http://schemas.microsoft.com/office/drawing/2014/main" val="2253286919"/>
                    </a:ext>
                  </a:extLst>
                </a:gridCol>
                <a:gridCol w="295492">
                  <a:extLst>
                    <a:ext uri="{9D8B030D-6E8A-4147-A177-3AD203B41FA5}">
                      <a16:colId xmlns:a16="http://schemas.microsoft.com/office/drawing/2014/main" val="2739285047"/>
                    </a:ext>
                  </a:extLst>
                </a:gridCol>
                <a:gridCol w="295492">
                  <a:extLst>
                    <a:ext uri="{9D8B030D-6E8A-4147-A177-3AD203B41FA5}">
                      <a16:colId xmlns:a16="http://schemas.microsoft.com/office/drawing/2014/main" val="686050863"/>
                    </a:ext>
                  </a:extLst>
                </a:gridCol>
                <a:gridCol w="295492">
                  <a:extLst>
                    <a:ext uri="{9D8B030D-6E8A-4147-A177-3AD203B41FA5}">
                      <a16:colId xmlns:a16="http://schemas.microsoft.com/office/drawing/2014/main" val="3765127706"/>
                    </a:ext>
                  </a:extLst>
                </a:gridCol>
                <a:gridCol w="295492">
                  <a:extLst>
                    <a:ext uri="{9D8B030D-6E8A-4147-A177-3AD203B41FA5}">
                      <a16:colId xmlns:a16="http://schemas.microsoft.com/office/drawing/2014/main" val="273303937"/>
                    </a:ext>
                  </a:extLst>
                </a:gridCol>
                <a:gridCol w="295492">
                  <a:extLst>
                    <a:ext uri="{9D8B030D-6E8A-4147-A177-3AD203B41FA5}">
                      <a16:colId xmlns:a16="http://schemas.microsoft.com/office/drawing/2014/main" val="1190134658"/>
                    </a:ext>
                  </a:extLst>
                </a:gridCol>
                <a:gridCol w="295492">
                  <a:extLst>
                    <a:ext uri="{9D8B030D-6E8A-4147-A177-3AD203B41FA5}">
                      <a16:colId xmlns:a16="http://schemas.microsoft.com/office/drawing/2014/main" val="1152288185"/>
                    </a:ext>
                  </a:extLst>
                </a:gridCol>
                <a:gridCol w="295492">
                  <a:extLst>
                    <a:ext uri="{9D8B030D-6E8A-4147-A177-3AD203B41FA5}">
                      <a16:colId xmlns:a16="http://schemas.microsoft.com/office/drawing/2014/main" val="1888319813"/>
                    </a:ext>
                  </a:extLst>
                </a:gridCol>
                <a:gridCol w="295492">
                  <a:extLst>
                    <a:ext uri="{9D8B030D-6E8A-4147-A177-3AD203B41FA5}">
                      <a16:colId xmlns:a16="http://schemas.microsoft.com/office/drawing/2014/main" val="3471064540"/>
                    </a:ext>
                  </a:extLst>
                </a:gridCol>
                <a:gridCol w="295492">
                  <a:extLst>
                    <a:ext uri="{9D8B030D-6E8A-4147-A177-3AD203B41FA5}">
                      <a16:colId xmlns:a16="http://schemas.microsoft.com/office/drawing/2014/main" val="670551899"/>
                    </a:ext>
                  </a:extLst>
                </a:gridCol>
                <a:gridCol w="295492">
                  <a:extLst>
                    <a:ext uri="{9D8B030D-6E8A-4147-A177-3AD203B41FA5}">
                      <a16:colId xmlns:a16="http://schemas.microsoft.com/office/drawing/2014/main" val="1100152168"/>
                    </a:ext>
                  </a:extLst>
                </a:gridCol>
                <a:gridCol w="295492">
                  <a:extLst>
                    <a:ext uri="{9D8B030D-6E8A-4147-A177-3AD203B41FA5}">
                      <a16:colId xmlns:a16="http://schemas.microsoft.com/office/drawing/2014/main" val="2165801595"/>
                    </a:ext>
                  </a:extLst>
                </a:gridCol>
                <a:gridCol w="295492">
                  <a:extLst>
                    <a:ext uri="{9D8B030D-6E8A-4147-A177-3AD203B41FA5}">
                      <a16:colId xmlns:a16="http://schemas.microsoft.com/office/drawing/2014/main" val="3981167565"/>
                    </a:ext>
                  </a:extLst>
                </a:gridCol>
                <a:gridCol w="295492">
                  <a:extLst>
                    <a:ext uri="{9D8B030D-6E8A-4147-A177-3AD203B41FA5}">
                      <a16:colId xmlns:a16="http://schemas.microsoft.com/office/drawing/2014/main" val="2740792325"/>
                    </a:ext>
                  </a:extLst>
                </a:gridCol>
                <a:gridCol w="295492">
                  <a:extLst>
                    <a:ext uri="{9D8B030D-6E8A-4147-A177-3AD203B41FA5}">
                      <a16:colId xmlns:a16="http://schemas.microsoft.com/office/drawing/2014/main" val="54782936"/>
                    </a:ext>
                  </a:extLst>
                </a:gridCol>
                <a:gridCol w="295492">
                  <a:extLst>
                    <a:ext uri="{9D8B030D-6E8A-4147-A177-3AD203B41FA5}">
                      <a16:colId xmlns:a16="http://schemas.microsoft.com/office/drawing/2014/main" val="154020430"/>
                    </a:ext>
                  </a:extLst>
                </a:gridCol>
                <a:gridCol w="295492">
                  <a:extLst>
                    <a:ext uri="{9D8B030D-6E8A-4147-A177-3AD203B41FA5}">
                      <a16:colId xmlns:a16="http://schemas.microsoft.com/office/drawing/2014/main" val="3928813835"/>
                    </a:ext>
                  </a:extLst>
                </a:gridCol>
                <a:gridCol w="295492">
                  <a:extLst>
                    <a:ext uri="{9D8B030D-6E8A-4147-A177-3AD203B41FA5}">
                      <a16:colId xmlns:a16="http://schemas.microsoft.com/office/drawing/2014/main" val="4210253042"/>
                    </a:ext>
                  </a:extLst>
                </a:gridCol>
                <a:gridCol w="295492">
                  <a:extLst>
                    <a:ext uri="{9D8B030D-6E8A-4147-A177-3AD203B41FA5}">
                      <a16:colId xmlns:a16="http://schemas.microsoft.com/office/drawing/2014/main" val="895787419"/>
                    </a:ext>
                  </a:extLst>
                </a:gridCol>
                <a:gridCol w="295492">
                  <a:extLst>
                    <a:ext uri="{9D8B030D-6E8A-4147-A177-3AD203B41FA5}">
                      <a16:colId xmlns:a16="http://schemas.microsoft.com/office/drawing/2014/main" val="3828388578"/>
                    </a:ext>
                  </a:extLst>
                </a:gridCol>
                <a:gridCol w="295492">
                  <a:extLst>
                    <a:ext uri="{9D8B030D-6E8A-4147-A177-3AD203B41FA5}">
                      <a16:colId xmlns:a16="http://schemas.microsoft.com/office/drawing/2014/main" val="742550205"/>
                    </a:ext>
                  </a:extLst>
                </a:gridCol>
                <a:gridCol w="295492">
                  <a:extLst>
                    <a:ext uri="{9D8B030D-6E8A-4147-A177-3AD203B41FA5}">
                      <a16:colId xmlns:a16="http://schemas.microsoft.com/office/drawing/2014/main" val="1408879461"/>
                    </a:ext>
                  </a:extLst>
                </a:gridCol>
              </a:tblGrid>
              <a:tr h="251292">
                <a:tc>
                  <a:txBody>
                    <a:bodyPr/>
                    <a:lstStyle/>
                    <a:p>
                      <a:r>
                        <a:rPr lang="en-US" sz="800" b="1" i="0" dirty="0">
                          <a:solidFill>
                            <a:schemeClr val="bg1"/>
                          </a:solidFill>
                          <a:latin typeface="+mj-lt"/>
                        </a:rPr>
                        <a:t>Sales </a:t>
                      </a:r>
                      <a:r>
                        <a:rPr lang="en-US" sz="800" b="1" i="0">
                          <a:solidFill>
                            <a:schemeClr val="bg1"/>
                          </a:solidFill>
                          <a:latin typeface="+mj-lt"/>
                        </a:rPr>
                        <a:t>Vs. 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rPr dirty="0"/>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rPr dirty="0"/>
                        <a:t>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helf </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Price</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Unit</a:t>
            </a:r>
          </a:p>
          <a:p>
            <a:pPr marL="0" marR="0" lvl="0" indent="0" defTabSz="685749"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Nexa Bold" panose="00000800000000000000" pitchFamily="2" charset="0"/>
              </a:rPr>
              <a:t>(</a:t>
            </a:r>
            <a:r>
              <a:rPr lang="en-US" sz="800" dirty="0">
                <a:solidFill>
                  <a:schemeClr val="tx1"/>
                </a:solidFill>
                <a:highlight>
                  <a:srgbClr val="FFFF00"/>
                </a:highlight>
                <a:latin typeface="Nexa Bold" panose="00000800000000000000" pitchFamily="2" charset="0"/>
              </a:rPr>
              <a:t>€</a:t>
            </a:r>
            <a:r>
              <a:rPr lang="en-US" sz="800" dirty="0">
                <a:solidFill>
                  <a:schemeClr val="tx1"/>
                </a:solidFill>
                <a:latin typeface="Nexa Bold" panose="00000800000000000000" pitchFamily="2" charset="0"/>
              </a:rPr>
              <a:t>)</a:t>
            </a:r>
            <a:endPar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endParaRP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Value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ales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M)</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8/11/2025</a:t>
            </a:fld>
            <a:endParaRPr lang="en-US" sz="500"/>
          </a:p>
        </p:txBody>
      </p:sp>
    </p:spTree>
    <p:extLst>
      <p:ext uri="{BB962C8B-B14F-4D97-AF65-F5344CB8AC3E}">
        <p14:creationId xmlns:p14="http://schemas.microsoft.com/office/powerpoint/2010/main" val="322078802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r>
              <a:rPr lang="en-US" dirty="0"/>
              <a:t>Inter-size Discount  | </a:t>
            </a:r>
            <a:r>
              <a:rPr lang="en-US" dirty="0">
                <a:highlight>
                  <a:srgbClr val="FFFF00"/>
                </a:highlight>
              </a:rPr>
              <a:t>Variant</a:t>
            </a:r>
            <a:r>
              <a:rPr lang="en-US" dirty="0"/>
              <a:t> | </a:t>
            </a:r>
            <a:r>
              <a:rPr lang="en-US" dirty="0">
                <a:highlight>
                  <a:srgbClr val="FFFF00"/>
                </a:highlight>
              </a:rPr>
              <a:t>National</a:t>
            </a:r>
            <a:r>
              <a:rPr lang="en-US" dirty="0"/>
              <a:t> | P12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2800073758"/>
              </p:ext>
            </p:extLst>
          </p:nvPr>
        </p:nvGraphicFramePr>
        <p:xfrm>
          <a:off x="555229" y="4265104"/>
          <a:ext cx="7441138"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95492">
                  <a:extLst>
                    <a:ext uri="{9D8B030D-6E8A-4147-A177-3AD203B41FA5}">
                      <a16:colId xmlns:a16="http://schemas.microsoft.com/office/drawing/2014/main" val="2253286919"/>
                    </a:ext>
                  </a:extLst>
                </a:gridCol>
                <a:gridCol w="295492">
                  <a:extLst>
                    <a:ext uri="{9D8B030D-6E8A-4147-A177-3AD203B41FA5}">
                      <a16:colId xmlns:a16="http://schemas.microsoft.com/office/drawing/2014/main" val="2739285047"/>
                    </a:ext>
                  </a:extLst>
                </a:gridCol>
                <a:gridCol w="295492">
                  <a:extLst>
                    <a:ext uri="{9D8B030D-6E8A-4147-A177-3AD203B41FA5}">
                      <a16:colId xmlns:a16="http://schemas.microsoft.com/office/drawing/2014/main" val="686050863"/>
                    </a:ext>
                  </a:extLst>
                </a:gridCol>
                <a:gridCol w="295492">
                  <a:extLst>
                    <a:ext uri="{9D8B030D-6E8A-4147-A177-3AD203B41FA5}">
                      <a16:colId xmlns:a16="http://schemas.microsoft.com/office/drawing/2014/main" val="3765127706"/>
                    </a:ext>
                  </a:extLst>
                </a:gridCol>
                <a:gridCol w="295492">
                  <a:extLst>
                    <a:ext uri="{9D8B030D-6E8A-4147-A177-3AD203B41FA5}">
                      <a16:colId xmlns:a16="http://schemas.microsoft.com/office/drawing/2014/main" val="273303937"/>
                    </a:ext>
                  </a:extLst>
                </a:gridCol>
                <a:gridCol w="295492">
                  <a:extLst>
                    <a:ext uri="{9D8B030D-6E8A-4147-A177-3AD203B41FA5}">
                      <a16:colId xmlns:a16="http://schemas.microsoft.com/office/drawing/2014/main" val="1190134658"/>
                    </a:ext>
                  </a:extLst>
                </a:gridCol>
                <a:gridCol w="295492">
                  <a:extLst>
                    <a:ext uri="{9D8B030D-6E8A-4147-A177-3AD203B41FA5}">
                      <a16:colId xmlns:a16="http://schemas.microsoft.com/office/drawing/2014/main" val="1152288185"/>
                    </a:ext>
                  </a:extLst>
                </a:gridCol>
                <a:gridCol w="295492">
                  <a:extLst>
                    <a:ext uri="{9D8B030D-6E8A-4147-A177-3AD203B41FA5}">
                      <a16:colId xmlns:a16="http://schemas.microsoft.com/office/drawing/2014/main" val="1888319813"/>
                    </a:ext>
                  </a:extLst>
                </a:gridCol>
                <a:gridCol w="295492">
                  <a:extLst>
                    <a:ext uri="{9D8B030D-6E8A-4147-A177-3AD203B41FA5}">
                      <a16:colId xmlns:a16="http://schemas.microsoft.com/office/drawing/2014/main" val="3471064540"/>
                    </a:ext>
                  </a:extLst>
                </a:gridCol>
                <a:gridCol w="295492">
                  <a:extLst>
                    <a:ext uri="{9D8B030D-6E8A-4147-A177-3AD203B41FA5}">
                      <a16:colId xmlns:a16="http://schemas.microsoft.com/office/drawing/2014/main" val="670551899"/>
                    </a:ext>
                  </a:extLst>
                </a:gridCol>
                <a:gridCol w="295492">
                  <a:extLst>
                    <a:ext uri="{9D8B030D-6E8A-4147-A177-3AD203B41FA5}">
                      <a16:colId xmlns:a16="http://schemas.microsoft.com/office/drawing/2014/main" val="1100152168"/>
                    </a:ext>
                  </a:extLst>
                </a:gridCol>
                <a:gridCol w="295492">
                  <a:extLst>
                    <a:ext uri="{9D8B030D-6E8A-4147-A177-3AD203B41FA5}">
                      <a16:colId xmlns:a16="http://schemas.microsoft.com/office/drawing/2014/main" val="2165801595"/>
                    </a:ext>
                  </a:extLst>
                </a:gridCol>
                <a:gridCol w="295492">
                  <a:extLst>
                    <a:ext uri="{9D8B030D-6E8A-4147-A177-3AD203B41FA5}">
                      <a16:colId xmlns:a16="http://schemas.microsoft.com/office/drawing/2014/main" val="3981167565"/>
                    </a:ext>
                  </a:extLst>
                </a:gridCol>
                <a:gridCol w="295492">
                  <a:extLst>
                    <a:ext uri="{9D8B030D-6E8A-4147-A177-3AD203B41FA5}">
                      <a16:colId xmlns:a16="http://schemas.microsoft.com/office/drawing/2014/main" val="2740792325"/>
                    </a:ext>
                  </a:extLst>
                </a:gridCol>
                <a:gridCol w="295492">
                  <a:extLst>
                    <a:ext uri="{9D8B030D-6E8A-4147-A177-3AD203B41FA5}">
                      <a16:colId xmlns:a16="http://schemas.microsoft.com/office/drawing/2014/main" val="54782936"/>
                    </a:ext>
                  </a:extLst>
                </a:gridCol>
                <a:gridCol w="295492">
                  <a:extLst>
                    <a:ext uri="{9D8B030D-6E8A-4147-A177-3AD203B41FA5}">
                      <a16:colId xmlns:a16="http://schemas.microsoft.com/office/drawing/2014/main" val="154020430"/>
                    </a:ext>
                  </a:extLst>
                </a:gridCol>
                <a:gridCol w="295492">
                  <a:extLst>
                    <a:ext uri="{9D8B030D-6E8A-4147-A177-3AD203B41FA5}">
                      <a16:colId xmlns:a16="http://schemas.microsoft.com/office/drawing/2014/main" val="3928813835"/>
                    </a:ext>
                  </a:extLst>
                </a:gridCol>
                <a:gridCol w="295492">
                  <a:extLst>
                    <a:ext uri="{9D8B030D-6E8A-4147-A177-3AD203B41FA5}">
                      <a16:colId xmlns:a16="http://schemas.microsoft.com/office/drawing/2014/main" val="4210253042"/>
                    </a:ext>
                  </a:extLst>
                </a:gridCol>
                <a:gridCol w="295492">
                  <a:extLst>
                    <a:ext uri="{9D8B030D-6E8A-4147-A177-3AD203B41FA5}">
                      <a16:colId xmlns:a16="http://schemas.microsoft.com/office/drawing/2014/main" val="895787419"/>
                    </a:ext>
                  </a:extLst>
                </a:gridCol>
                <a:gridCol w="295492">
                  <a:extLst>
                    <a:ext uri="{9D8B030D-6E8A-4147-A177-3AD203B41FA5}">
                      <a16:colId xmlns:a16="http://schemas.microsoft.com/office/drawing/2014/main" val="3828388578"/>
                    </a:ext>
                  </a:extLst>
                </a:gridCol>
                <a:gridCol w="295492">
                  <a:extLst>
                    <a:ext uri="{9D8B030D-6E8A-4147-A177-3AD203B41FA5}">
                      <a16:colId xmlns:a16="http://schemas.microsoft.com/office/drawing/2014/main" val="742550205"/>
                    </a:ext>
                  </a:extLst>
                </a:gridCol>
                <a:gridCol w="295492">
                  <a:extLst>
                    <a:ext uri="{9D8B030D-6E8A-4147-A177-3AD203B41FA5}">
                      <a16:colId xmlns:a16="http://schemas.microsoft.com/office/drawing/2014/main" val="1408879461"/>
                    </a:ext>
                  </a:extLst>
                </a:gridCol>
              </a:tblGrid>
              <a:tr h="251292">
                <a:tc>
                  <a:txBody>
                    <a:bodyPr/>
                    <a:lstStyle/>
                    <a:p>
                      <a:r>
                        <a:rPr lang="en-US" sz="800" b="1" i="0" dirty="0">
                          <a:solidFill>
                            <a:schemeClr val="bg1"/>
                          </a:solidFill>
                          <a:latin typeface="+mj-lt"/>
                        </a:rPr>
                        <a:t>Sales </a:t>
                      </a:r>
                      <a:r>
                        <a:rPr lang="en-US" sz="800" b="1" i="0">
                          <a:solidFill>
                            <a:schemeClr val="bg1"/>
                          </a:solidFill>
                          <a:latin typeface="+mj-lt"/>
                        </a:rPr>
                        <a:t>Vs. 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rPr dirty="0"/>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rPr dirty="0"/>
                        <a:t>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helf </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Price</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Unit</a:t>
            </a:r>
          </a:p>
          <a:p>
            <a:pPr marL="0" marR="0" lvl="0" indent="0" defTabSz="685749"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Nexa Bold" panose="00000800000000000000" pitchFamily="2" charset="0"/>
              </a:rPr>
              <a:t>(</a:t>
            </a:r>
            <a:r>
              <a:rPr lang="en-US" sz="800" dirty="0">
                <a:solidFill>
                  <a:schemeClr val="tx1"/>
                </a:solidFill>
                <a:highlight>
                  <a:srgbClr val="FFFF00"/>
                </a:highlight>
                <a:latin typeface="Nexa Bold" panose="00000800000000000000" pitchFamily="2" charset="0"/>
              </a:rPr>
              <a:t>€</a:t>
            </a:r>
            <a:r>
              <a:rPr lang="en-US" sz="800" dirty="0">
                <a:solidFill>
                  <a:schemeClr val="tx1"/>
                </a:solidFill>
                <a:latin typeface="Nexa Bold" panose="00000800000000000000" pitchFamily="2" charset="0"/>
              </a:rPr>
              <a:t>)</a:t>
            </a:r>
            <a:endPar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endParaRP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Value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ales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M)</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8/11/2025</a:t>
            </a:fld>
            <a:endParaRPr lang="en-US" sz="500"/>
          </a:p>
        </p:txBody>
      </p:sp>
    </p:spTree>
    <p:extLst>
      <p:ext uri="{BB962C8B-B14F-4D97-AF65-F5344CB8AC3E}">
        <p14:creationId xmlns:p14="http://schemas.microsoft.com/office/powerpoint/2010/main" val="427690348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r>
              <a:rPr lang="en-US" dirty="0"/>
              <a:t>Inter-size Discount  | </a:t>
            </a:r>
            <a:r>
              <a:rPr lang="en-US" dirty="0">
                <a:highlight>
                  <a:srgbClr val="FFFF00"/>
                </a:highlight>
              </a:rPr>
              <a:t>Variant</a:t>
            </a:r>
            <a:r>
              <a:rPr lang="en-US" dirty="0"/>
              <a:t> | </a:t>
            </a:r>
            <a:r>
              <a:rPr lang="en-US" dirty="0">
                <a:highlight>
                  <a:srgbClr val="FFFF00"/>
                </a:highlight>
              </a:rPr>
              <a:t>National</a:t>
            </a:r>
            <a:r>
              <a:rPr lang="en-US" dirty="0"/>
              <a:t> | P12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2800073758"/>
              </p:ext>
            </p:extLst>
          </p:nvPr>
        </p:nvGraphicFramePr>
        <p:xfrm>
          <a:off x="555229" y="4265104"/>
          <a:ext cx="7441138"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95492">
                  <a:extLst>
                    <a:ext uri="{9D8B030D-6E8A-4147-A177-3AD203B41FA5}">
                      <a16:colId xmlns:a16="http://schemas.microsoft.com/office/drawing/2014/main" val="2253286919"/>
                    </a:ext>
                  </a:extLst>
                </a:gridCol>
                <a:gridCol w="295492">
                  <a:extLst>
                    <a:ext uri="{9D8B030D-6E8A-4147-A177-3AD203B41FA5}">
                      <a16:colId xmlns:a16="http://schemas.microsoft.com/office/drawing/2014/main" val="2739285047"/>
                    </a:ext>
                  </a:extLst>
                </a:gridCol>
                <a:gridCol w="295492">
                  <a:extLst>
                    <a:ext uri="{9D8B030D-6E8A-4147-A177-3AD203B41FA5}">
                      <a16:colId xmlns:a16="http://schemas.microsoft.com/office/drawing/2014/main" val="686050863"/>
                    </a:ext>
                  </a:extLst>
                </a:gridCol>
                <a:gridCol w="295492">
                  <a:extLst>
                    <a:ext uri="{9D8B030D-6E8A-4147-A177-3AD203B41FA5}">
                      <a16:colId xmlns:a16="http://schemas.microsoft.com/office/drawing/2014/main" val="3765127706"/>
                    </a:ext>
                  </a:extLst>
                </a:gridCol>
                <a:gridCol w="295492">
                  <a:extLst>
                    <a:ext uri="{9D8B030D-6E8A-4147-A177-3AD203B41FA5}">
                      <a16:colId xmlns:a16="http://schemas.microsoft.com/office/drawing/2014/main" val="273303937"/>
                    </a:ext>
                  </a:extLst>
                </a:gridCol>
                <a:gridCol w="295492">
                  <a:extLst>
                    <a:ext uri="{9D8B030D-6E8A-4147-A177-3AD203B41FA5}">
                      <a16:colId xmlns:a16="http://schemas.microsoft.com/office/drawing/2014/main" val="1190134658"/>
                    </a:ext>
                  </a:extLst>
                </a:gridCol>
                <a:gridCol w="295492">
                  <a:extLst>
                    <a:ext uri="{9D8B030D-6E8A-4147-A177-3AD203B41FA5}">
                      <a16:colId xmlns:a16="http://schemas.microsoft.com/office/drawing/2014/main" val="1152288185"/>
                    </a:ext>
                  </a:extLst>
                </a:gridCol>
                <a:gridCol w="295492">
                  <a:extLst>
                    <a:ext uri="{9D8B030D-6E8A-4147-A177-3AD203B41FA5}">
                      <a16:colId xmlns:a16="http://schemas.microsoft.com/office/drawing/2014/main" val="1888319813"/>
                    </a:ext>
                  </a:extLst>
                </a:gridCol>
                <a:gridCol w="295492">
                  <a:extLst>
                    <a:ext uri="{9D8B030D-6E8A-4147-A177-3AD203B41FA5}">
                      <a16:colId xmlns:a16="http://schemas.microsoft.com/office/drawing/2014/main" val="3471064540"/>
                    </a:ext>
                  </a:extLst>
                </a:gridCol>
                <a:gridCol w="295492">
                  <a:extLst>
                    <a:ext uri="{9D8B030D-6E8A-4147-A177-3AD203B41FA5}">
                      <a16:colId xmlns:a16="http://schemas.microsoft.com/office/drawing/2014/main" val="670551899"/>
                    </a:ext>
                  </a:extLst>
                </a:gridCol>
                <a:gridCol w="295492">
                  <a:extLst>
                    <a:ext uri="{9D8B030D-6E8A-4147-A177-3AD203B41FA5}">
                      <a16:colId xmlns:a16="http://schemas.microsoft.com/office/drawing/2014/main" val="1100152168"/>
                    </a:ext>
                  </a:extLst>
                </a:gridCol>
                <a:gridCol w="295492">
                  <a:extLst>
                    <a:ext uri="{9D8B030D-6E8A-4147-A177-3AD203B41FA5}">
                      <a16:colId xmlns:a16="http://schemas.microsoft.com/office/drawing/2014/main" val="2165801595"/>
                    </a:ext>
                  </a:extLst>
                </a:gridCol>
                <a:gridCol w="295492">
                  <a:extLst>
                    <a:ext uri="{9D8B030D-6E8A-4147-A177-3AD203B41FA5}">
                      <a16:colId xmlns:a16="http://schemas.microsoft.com/office/drawing/2014/main" val="3981167565"/>
                    </a:ext>
                  </a:extLst>
                </a:gridCol>
                <a:gridCol w="295492">
                  <a:extLst>
                    <a:ext uri="{9D8B030D-6E8A-4147-A177-3AD203B41FA5}">
                      <a16:colId xmlns:a16="http://schemas.microsoft.com/office/drawing/2014/main" val="2740792325"/>
                    </a:ext>
                  </a:extLst>
                </a:gridCol>
                <a:gridCol w="295492">
                  <a:extLst>
                    <a:ext uri="{9D8B030D-6E8A-4147-A177-3AD203B41FA5}">
                      <a16:colId xmlns:a16="http://schemas.microsoft.com/office/drawing/2014/main" val="54782936"/>
                    </a:ext>
                  </a:extLst>
                </a:gridCol>
                <a:gridCol w="295492">
                  <a:extLst>
                    <a:ext uri="{9D8B030D-6E8A-4147-A177-3AD203B41FA5}">
                      <a16:colId xmlns:a16="http://schemas.microsoft.com/office/drawing/2014/main" val="154020430"/>
                    </a:ext>
                  </a:extLst>
                </a:gridCol>
                <a:gridCol w="295492">
                  <a:extLst>
                    <a:ext uri="{9D8B030D-6E8A-4147-A177-3AD203B41FA5}">
                      <a16:colId xmlns:a16="http://schemas.microsoft.com/office/drawing/2014/main" val="3928813835"/>
                    </a:ext>
                  </a:extLst>
                </a:gridCol>
                <a:gridCol w="295492">
                  <a:extLst>
                    <a:ext uri="{9D8B030D-6E8A-4147-A177-3AD203B41FA5}">
                      <a16:colId xmlns:a16="http://schemas.microsoft.com/office/drawing/2014/main" val="4210253042"/>
                    </a:ext>
                  </a:extLst>
                </a:gridCol>
                <a:gridCol w="295492">
                  <a:extLst>
                    <a:ext uri="{9D8B030D-6E8A-4147-A177-3AD203B41FA5}">
                      <a16:colId xmlns:a16="http://schemas.microsoft.com/office/drawing/2014/main" val="895787419"/>
                    </a:ext>
                  </a:extLst>
                </a:gridCol>
                <a:gridCol w="295492">
                  <a:extLst>
                    <a:ext uri="{9D8B030D-6E8A-4147-A177-3AD203B41FA5}">
                      <a16:colId xmlns:a16="http://schemas.microsoft.com/office/drawing/2014/main" val="3828388578"/>
                    </a:ext>
                  </a:extLst>
                </a:gridCol>
                <a:gridCol w="295492">
                  <a:extLst>
                    <a:ext uri="{9D8B030D-6E8A-4147-A177-3AD203B41FA5}">
                      <a16:colId xmlns:a16="http://schemas.microsoft.com/office/drawing/2014/main" val="742550205"/>
                    </a:ext>
                  </a:extLst>
                </a:gridCol>
                <a:gridCol w="295492">
                  <a:extLst>
                    <a:ext uri="{9D8B030D-6E8A-4147-A177-3AD203B41FA5}">
                      <a16:colId xmlns:a16="http://schemas.microsoft.com/office/drawing/2014/main" val="1408879461"/>
                    </a:ext>
                  </a:extLst>
                </a:gridCol>
              </a:tblGrid>
              <a:tr h="251292">
                <a:tc>
                  <a:txBody>
                    <a:bodyPr/>
                    <a:lstStyle/>
                    <a:p>
                      <a:r>
                        <a:rPr lang="en-US" sz="800" b="1" i="0" dirty="0">
                          <a:solidFill>
                            <a:schemeClr val="bg1"/>
                          </a:solidFill>
                          <a:latin typeface="+mj-lt"/>
                        </a:rPr>
                        <a:t>Sales </a:t>
                      </a:r>
                      <a:r>
                        <a:rPr lang="en-US" sz="800" b="1" i="0">
                          <a:solidFill>
                            <a:schemeClr val="bg1"/>
                          </a:solidFill>
                          <a:latin typeface="+mj-lt"/>
                        </a:rPr>
                        <a:t>Vs. 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rPr dirty="0"/>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rPr dirty="0"/>
                        <a:t>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helf </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Price</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Unit</a:t>
            </a:r>
          </a:p>
          <a:p>
            <a:pPr marL="0" marR="0" lvl="0" indent="0" defTabSz="685749"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Nexa Bold" panose="00000800000000000000" pitchFamily="2" charset="0"/>
              </a:rPr>
              <a:t>(</a:t>
            </a:r>
            <a:r>
              <a:rPr lang="en-US" sz="800" dirty="0">
                <a:solidFill>
                  <a:schemeClr val="tx1"/>
                </a:solidFill>
                <a:highlight>
                  <a:srgbClr val="FFFF00"/>
                </a:highlight>
                <a:latin typeface="Nexa Bold" panose="00000800000000000000" pitchFamily="2" charset="0"/>
              </a:rPr>
              <a:t>€</a:t>
            </a:r>
            <a:r>
              <a:rPr lang="en-US" sz="800" dirty="0">
                <a:solidFill>
                  <a:schemeClr val="tx1"/>
                </a:solidFill>
                <a:latin typeface="Nexa Bold" panose="00000800000000000000" pitchFamily="2" charset="0"/>
              </a:rPr>
              <a:t>)</a:t>
            </a:r>
            <a:endPar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endParaRP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Value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ales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M)</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8/11/2025</a:t>
            </a:fld>
            <a:endParaRPr lang="en-US" sz="500"/>
          </a:p>
        </p:txBody>
      </p:sp>
    </p:spTree>
    <p:extLst>
      <p:ext uri="{BB962C8B-B14F-4D97-AF65-F5344CB8AC3E}">
        <p14:creationId xmlns:p14="http://schemas.microsoft.com/office/powerpoint/2010/main" val="192308925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r>
              <a:rPr lang="en-US" dirty="0"/>
              <a:t>Inter-size Discount  | </a:t>
            </a:r>
            <a:r>
              <a:rPr lang="en-US" dirty="0">
                <a:highlight>
                  <a:srgbClr val="FFFF00"/>
                </a:highlight>
              </a:rPr>
              <a:t>Variant</a:t>
            </a:r>
            <a:r>
              <a:rPr lang="en-US" dirty="0"/>
              <a:t> | </a:t>
            </a:r>
            <a:r>
              <a:rPr lang="en-US" dirty="0">
                <a:highlight>
                  <a:srgbClr val="FFFF00"/>
                </a:highlight>
              </a:rPr>
              <a:t>National</a:t>
            </a:r>
            <a:r>
              <a:rPr lang="en-US" dirty="0"/>
              <a:t> | P12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2800073758"/>
              </p:ext>
            </p:extLst>
          </p:nvPr>
        </p:nvGraphicFramePr>
        <p:xfrm>
          <a:off x="555229" y="4265104"/>
          <a:ext cx="7441138"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95492">
                  <a:extLst>
                    <a:ext uri="{9D8B030D-6E8A-4147-A177-3AD203B41FA5}">
                      <a16:colId xmlns:a16="http://schemas.microsoft.com/office/drawing/2014/main" val="2253286919"/>
                    </a:ext>
                  </a:extLst>
                </a:gridCol>
                <a:gridCol w="295492">
                  <a:extLst>
                    <a:ext uri="{9D8B030D-6E8A-4147-A177-3AD203B41FA5}">
                      <a16:colId xmlns:a16="http://schemas.microsoft.com/office/drawing/2014/main" val="2739285047"/>
                    </a:ext>
                  </a:extLst>
                </a:gridCol>
                <a:gridCol w="295492">
                  <a:extLst>
                    <a:ext uri="{9D8B030D-6E8A-4147-A177-3AD203B41FA5}">
                      <a16:colId xmlns:a16="http://schemas.microsoft.com/office/drawing/2014/main" val="686050863"/>
                    </a:ext>
                  </a:extLst>
                </a:gridCol>
                <a:gridCol w="295492">
                  <a:extLst>
                    <a:ext uri="{9D8B030D-6E8A-4147-A177-3AD203B41FA5}">
                      <a16:colId xmlns:a16="http://schemas.microsoft.com/office/drawing/2014/main" val="3765127706"/>
                    </a:ext>
                  </a:extLst>
                </a:gridCol>
                <a:gridCol w="295492">
                  <a:extLst>
                    <a:ext uri="{9D8B030D-6E8A-4147-A177-3AD203B41FA5}">
                      <a16:colId xmlns:a16="http://schemas.microsoft.com/office/drawing/2014/main" val="273303937"/>
                    </a:ext>
                  </a:extLst>
                </a:gridCol>
                <a:gridCol w="295492">
                  <a:extLst>
                    <a:ext uri="{9D8B030D-6E8A-4147-A177-3AD203B41FA5}">
                      <a16:colId xmlns:a16="http://schemas.microsoft.com/office/drawing/2014/main" val="1190134658"/>
                    </a:ext>
                  </a:extLst>
                </a:gridCol>
                <a:gridCol w="295492">
                  <a:extLst>
                    <a:ext uri="{9D8B030D-6E8A-4147-A177-3AD203B41FA5}">
                      <a16:colId xmlns:a16="http://schemas.microsoft.com/office/drawing/2014/main" val="1152288185"/>
                    </a:ext>
                  </a:extLst>
                </a:gridCol>
                <a:gridCol w="295492">
                  <a:extLst>
                    <a:ext uri="{9D8B030D-6E8A-4147-A177-3AD203B41FA5}">
                      <a16:colId xmlns:a16="http://schemas.microsoft.com/office/drawing/2014/main" val="1888319813"/>
                    </a:ext>
                  </a:extLst>
                </a:gridCol>
                <a:gridCol w="295492">
                  <a:extLst>
                    <a:ext uri="{9D8B030D-6E8A-4147-A177-3AD203B41FA5}">
                      <a16:colId xmlns:a16="http://schemas.microsoft.com/office/drawing/2014/main" val="3471064540"/>
                    </a:ext>
                  </a:extLst>
                </a:gridCol>
                <a:gridCol w="295492">
                  <a:extLst>
                    <a:ext uri="{9D8B030D-6E8A-4147-A177-3AD203B41FA5}">
                      <a16:colId xmlns:a16="http://schemas.microsoft.com/office/drawing/2014/main" val="670551899"/>
                    </a:ext>
                  </a:extLst>
                </a:gridCol>
                <a:gridCol w="295492">
                  <a:extLst>
                    <a:ext uri="{9D8B030D-6E8A-4147-A177-3AD203B41FA5}">
                      <a16:colId xmlns:a16="http://schemas.microsoft.com/office/drawing/2014/main" val="1100152168"/>
                    </a:ext>
                  </a:extLst>
                </a:gridCol>
                <a:gridCol w="295492">
                  <a:extLst>
                    <a:ext uri="{9D8B030D-6E8A-4147-A177-3AD203B41FA5}">
                      <a16:colId xmlns:a16="http://schemas.microsoft.com/office/drawing/2014/main" val="2165801595"/>
                    </a:ext>
                  </a:extLst>
                </a:gridCol>
                <a:gridCol w="295492">
                  <a:extLst>
                    <a:ext uri="{9D8B030D-6E8A-4147-A177-3AD203B41FA5}">
                      <a16:colId xmlns:a16="http://schemas.microsoft.com/office/drawing/2014/main" val="3981167565"/>
                    </a:ext>
                  </a:extLst>
                </a:gridCol>
                <a:gridCol w="295492">
                  <a:extLst>
                    <a:ext uri="{9D8B030D-6E8A-4147-A177-3AD203B41FA5}">
                      <a16:colId xmlns:a16="http://schemas.microsoft.com/office/drawing/2014/main" val="2740792325"/>
                    </a:ext>
                  </a:extLst>
                </a:gridCol>
                <a:gridCol w="295492">
                  <a:extLst>
                    <a:ext uri="{9D8B030D-6E8A-4147-A177-3AD203B41FA5}">
                      <a16:colId xmlns:a16="http://schemas.microsoft.com/office/drawing/2014/main" val="54782936"/>
                    </a:ext>
                  </a:extLst>
                </a:gridCol>
                <a:gridCol w="295492">
                  <a:extLst>
                    <a:ext uri="{9D8B030D-6E8A-4147-A177-3AD203B41FA5}">
                      <a16:colId xmlns:a16="http://schemas.microsoft.com/office/drawing/2014/main" val="154020430"/>
                    </a:ext>
                  </a:extLst>
                </a:gridCol>
                <a:gridCol w="295492">
                  <a:extLst>
                    <a:ext uri="{9D8B030D-6E8A-4147-A177-3AD203B41FA5}">
                      <a16:colId xmlns:a16="http://schemas.microsoft.com/office/drawing/2014/main" val="3928813835"/>
                    </a:ext>
                  </a:extLst>
                </a:gridCol>
                <a:gridCol w="295492">
                  <a:extLst>
                    <a:ext uri="{9D8B030D-6E8A-4147-A177-3AD203B41FA5}">
                      <a16:colId xmlns:a16="http://schemas.microsoft.com/office/drawing/2014/main" val="4210253042"/>
                    </a:ext>
                  </a:extLst>
                </a:gridCol>
                <a:gridCol w="295492">
                  <a:extLst>
                    <a:ext uri="{9D8B030D-6E8A-4147-A177-3AD203B41FA5}">
                      <a16:colId xmlns:a16="http://schemas.microsoft.com/office/drawing/2014/main" val="895787419"/>
                    </a:ext>
                  </a:extLst>
                </a:gridCol>
                <a:gridCol w="295492">
                  <a:extLst>
                    <a:ext uri="{9D8B030D-6E8A-4147-A177-3AD203B41FA5}">
                      <a16:colId xmlns:a16="http://schemas.microsoft.com/office/drawing/2014/main" val="3828388578"/>
                    </a:ext>
                  </a:extLst>
                </a:gridCol>
                <a:gridCol w="295492">
                  <a:extLst>
                    <a:ext uri="{9D8B030D-6E8A-4147-A177-3AD203B41FA5}">
                      <a16:colId xmlns:a16="http://schemas.microsoft.com/office/drawing/2014/main" val="742550205"/>
                    </a:ext>
                  </a:extLst>
                </a:gridCol>
                <a:gridCol w="295492">
                  <a:extLst>
                    <a:ext uri="{9D8B030D-6E8A-4147-A177-3AD203B41FA5}">
                      <a16:colId xmlns:a16="http://schemas.microsoft.com/office/drawing/2014/main" val="1408879461"/>
                    </a:ext>
                  </a:extLst>
                </a:gridCol>
              </a:tblGrid>
              <a:tr h="251292">
                <a:tc>
                  <a:txBody>
                    <a:bodyPr/>
                    <a:lstStyle/>
                    <a:p>
                      <a:r>
                        <a:rPr lang="en-US" sz="800" b="1" i="0" dirty="0">
                          <a:solidFill>
                            <a:schemeClr val="bg1"/>
                          </a:solidFill>
                          <a:latin typeface="+mj-lt"/>
                        </a:rPr>
                        <a:t>Sales </a:t>
                      </a:r>
                      <a:r>
                        <a:rPr lang="en-US" sz="800" b="1" i="0">
                          <a:solidFill>
                            <a:schemeClr val="bg1"/>
                          </a:solidFill>
                          <a:latin typeface="+mj-lt"/>
                        </a:rPr>
                        <a:t>Vs. 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rPr dirty="0"/>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rPr dirty="0"/>
                        <a:t>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helf </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Price</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Unit</a:t>
            </a:r>
          </a:p>
          <a:p>
            <a:pPr marL="0" marR="0" lvl="0" indent="0" defTabSz="685749"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Nexa Bold" panose="00000800000000000000" pitchFamily="2" charset="0"/>
              </a:rPr>
              <a:t>(</a:t>
            </a:r>
            <a:r>
              <a:rPr lang="en-US" sz="800" dirty="0">
                <a:solidFill>
                  <a:schemeClr val="tx1"/>
                </a:solidFill>
                <a:highlight>
                  <a:srgbClr val="FFFF00"/>
                </a:highlight>
                <a:latin typeface="Nexa Bold" panose="00000800000000000000" pitchFamily="2" charset="0"/>
              </a:rPr>
              <a:t>€</a:t>
            </a:r>
            <a:r>
              <a:rPr lang="en-US" sz="800" dirty="0">
                <a:solidFill>
                  <a:schemeClr val="tx1"/>
                </a:solidFill>
                <a:latin typeface="Nexa Bold" panose="00000800000000000000" pitchFamily="2" charset="0"/>
              </a:rPr>
              <a:t>)</a:t>
            </a:r>
            <a:endPar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endParaRP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Value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ales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M)</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8/11/2025</a:t>
            </a:fld>
            <a:endParaRPr lang="en-US" sz="500"/>
          </a:p>
        </p:txBody>
      </p:sp>
    </p:spTree>
    <p:extLst>
      <p:ext uri="{BB962C8B-B14F-4D97-AF65-F5344CB8AC3E}">
        <p14:creationId xmlns:p14="http://schemas.microsoft.com/office/powerpoint/2010/main" val="36041451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r>
              <a:rPr lang="en-US" dirty="0"/>
              <a:t>Inter-size Discount  | </a:t>
            </a:r>
            <a:r>
              <a:rPr lang="en-US" dirty="0">
                <a:highlight>
                  <a:srgbClr val="FFFF00"/>
                </a:highlight>
              </a:rPr>
              <a:t>Variant</a:t>
            </a:r>
            <a:r>
              <a:rPr lang="en-US" dirty="0"/>
              <a:t> | </a:t>
            </a:r>
            <a:r>
              <a:rPr lang="en-US" dirty="0">
                <a:highlight>
                  <a:srgbClr val="FFFF00"/>
                </a:highlight>
              </a:rPr>
              <a:t>National</a:t>
            </a:r>
            <a:r>
              <a:rPr lang="en-US" dirty="0"/>
              <a:t> | P12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2800073758"/>
              </p:ext>
            </p:extLst>
          </p:nvPr>
        </p:nvGraphicFramePr>
        <p:xfrm>
          <a:off x="555229" y="4265104"/>
          <a:ext cx="7441138"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95492">
                  <a:extLst>
                    <a:ext uri="{9D8B030D-6E8A-4147-A177-3AD203B41FA5}">
                      <a16:colId xmlns:a16="http://schemas.microsoft.com/office/drawing/2014/main" val="2253286919"/>
                    </a:ext>
                  </a:extLst>
                </a:gridCol>
                <a:gridCol w="295492">
                  <a:extLst>
                    <a:ext uri="{9D8B030D-6E8A-4147-A177-3AD203B41FA5}">
                      <a16:colId xmlns:a16="http://schemas.microsoft.com/office/drawing/2014/main" val="2739285047"/>
                    </a:ext>
                  </a:extLst>
                </a:gridCol>
                <a:gridCol w="295492">
                  <a:extLst>
                    <a:ext uri="{9D8B030D-6E8A-4147-A177-3AD203B41FA5}">
                      <a16:colId xmlns:a16="http://schemas.microsoft.com/office/drawing/2014/main" val="686050863"/>
                    </a:ext>
                  </a:extLst>
                </a:gridCol>
                <a:gridCol w="295492">
                  <a:extLst>
                    <a:ext uri="{9D8B030D-6E8A-4147-A177-3AD203B41FA5}">
                      <a16:colId xmlns:a16="http://schemas.microsoft.com/office/drawing/2014/main" val="3765127706"/>
                    </a:ext>
                  </a:extLst>
                </a:gridCol>
                <a:gridCol w="295492">
                  <a:extLst>
                    <a:ext uri="{9D8B030D-6E8A-4147-A177-3AD203B41FA5}">
                      <a16:colId xmlns:a16="http://schemas.microsoft.com/office/drawing/2014/main" val="273303937"/>
                    </a:ext>
                  </a:extLst>
                </a:gridCol>
                <a:gridCol w="295492">
                  <a:extLst>
                    <a:ext uri="{9D8B030D-6E8A-4147-A177-3AD203B41FA5}">
                      <a16:colId xmlns:a16="http://schemas.microsoft.com/office/drawing/2014/main" val="1190134658"/>
                    </a:ext>
                  </a:extLst>
                </a:gridCol>
                <a:gridCol w="295492">
                  <a:extLst>
                    <a:ext uri="{9D8B030D-6E8A-4147-A177-3AD203B41FA5}">
                      <a16:colId xmlns:a16="http://schemas.microsoft.com/office/drawing/2014/main" val="1152288185"/>
                    </a:ext>
                  </a:extLst>
                </a:gridCol>
                <a:gridCol w="295492">
                  <a:extLst>
                    <a:ext uri="{9D8B030D-6E8A-4147-A177-3AD203B41FA5}">
                      <a16:colId xmlns:a16="http://schemas.microsoft.com/office/drawing/2014/main" val="1888319813"/>
                    </a:ext>
                  </a:extLst>
                </a:gridCol>
                <a:gridCol w="295492">
                  <a:extLst>
                    <a:ext uri="{9D8B030D-6E8A-4147-A177-3AD203B41FA5}">
                      <a16:colId xmlns:a16="http://schemas.microsoft.com/office/drawing/2014/main" val="3471064540"/>
                    </a:ext>
                  </a:extLst>
                </a:gridCol>
                <a:gridCol w="295492">
                  <a:extLst>
                    <a:ext uri="{9D8B030D-6E8A-4147-A177-3AD203B41FA5}">
                      <a16:colId xmlns:a16="http://schemas.microsoft.com/office/drawing/2014/main" val="670551899"/>
                    </a:ext>
                  </a:extLst>
                </a:gridCol>
                <a:gridCol w="295492">
                  <a:extLst>
                    <a:ext uri="{9D8B030D-6E8A-4147-A177-3AD203B41FA5}">
                      <a16:colId xmlns:a16="http://schemas.microsoft.com/office/drawing/2014/main" val="1100152168"/>
                    </a:ext>
                  </a:extLst>
                </a:gridCol>
                <a:gridCol w="295492">
                  <a:extLst>
                    <a:ext uri="{9D8B030D-6E8A-4147-A177-3AD203B41FA5}">
                      <a16:colId xmlns:a16="http://schemas.microsoft.com/office/drawing/2014/main" val="2165801595"/>
                    </a:ext>
                  </a:extLst>
                </a:gridCol>
                <a:gridCol w="295492">
                  <a:extLst>
                    <a:ext uri="{9D8B030D-6E8A-4147-A177-3AD203B41FA5}">
                      <a16:colId xmlns:a16="http://schemas.microsoft.com/office/drawing/2014/main" val="3981167565"/>
                    </a:ext>
                  </a:extLst>
                </a:gridCol>
                <a:gridCol w="295492">
                  <a:extLst>
                    <a:ext uri="{9D8B030D-6E8A-4147-A177-3AD203B41FA5}">
                      <a16:colId xmlns:a16="http://schemas.microsoft.com/office/drawing/2014/main" val="2740792325"/>
                    </a:ext>
                  </a:extLst>
                </a:gridCol>
                <a:gridCol w="295492">
                  <a:extLst>
                    <a:ext uri="{9D8B030D-6E8A-4147-A177-3AD203B41FA5}">
                      <a16:colId xmlns:a16="http://schemas.microsoft.com/office/drawing/2014/main" val="54782936"/>
                    </a:ext>
                  </a:extLst>
                </a:gridCol>
                <a:gridCol w="295492">
                  <a:extLst>
                    <a:ext uri="{9D8B030D-6E8A-4147-A177-3AD203B41FA5}">
                      <a16:colId xmlns:a16="http://schemas.microsoft.com/office/drawing/2014/main" val="154020430"/>
                    </a:ext>
                  </a:extLst>
                </a:gridCol>
                <a:gridCol w="295492">
                  <a:extLst>
                    <a:ext uri="{9D8B030D-6E8A-4147-A177-3AD203B41FA5}">
                      <a16:colId xmlns:a16="http://schemas.microsoft.com/office/drawing/2014/main" val="3928813835"/>
                    </a:ext>
                  </a:extLst>
                </a:gridCol>
                <a:gridCol w="295492">
                  <a:extLst>
                    <a:ext uri="{9D8B030D-6E8A-4147-A177-3AD203B41FA5}">
                      <a16:colId xmlns:a16="http://schemas.microsoft.com/office/drawing/2014/main" val="4210253042"/>
                    </a:ext>
                  </a:extLst>
                </a:gridCol>
                <a:gridCol w="295492">
                  <a:extLst>
                    <a:ext uri="{9D8B030D-6E8A-4147-A177-3AD203B41FA5}">
                      <a16:colId xmlns:a16="http://schemas.microsoft.com/office/drawing/2014/main" val="895787419"/>
                    </a:ext>
                  </a:extLst>
                </a:gridCol>
                <a:gridCol w="295492">
                  <a:extLst>
                    <a:ext uri="{9D8B030D-6E8A-4147-A177-3AD203B41FA5}">
                      <a16:colId xmlns:a16="http://schemas.microsoft.com/office/drawing/2014/main" val="3828388578"/>
                    </a:ext>
                  </a:extLst>
                </a:gridCol>
                <a:gridCol w="295492">
                  <a:extLst>
                    <a:ext uri="{9D8B030D-6E8A-4147-A177-3AD203B41FA5}">
                      <a16:colId xmlns:a16="http://schemas.microsoft.com/office/drawing/2014/main" val="742550205"/>
                    </a:ext>
                  </a:extLst>
                </a:gridCol>
                <a:gridCol w="295492">
                  <a:extLst>
                    <a:ext uri="{9D8B030D-6E8A-4147-A177-3AD203B41FA5}">
                      <a16:colId xmlns:a16="http://schemas.microsoft.com/office/drawing/2014/main" val="1408879461"/>
                    </a:ext>
                  </a:extLst>
                </a:gridCol>
              </a:tblGrid>
              <a:tr h="251292">
                <a:tc>
                  <a:txBody>
                    <a:bodyPr/>
                    <a:lstStyle/>
                    <a:p>
                      <a:r>
                        <a:rPr lang="en-US" sz="800" b="1" i="0" dirty="0">
                          <a:solidFill>
                            <a:schemeClr val="bg1"/>
                          </a:solidFill>
                          <a:latin typeface="+mj-lt"/>
                        </a:rPr>
                        <a:t>Sales </a:t>
                      </a:r>
                      <a:r>
                        <a:rPr lang="en-US" sz="800" b="1" i="0">
                          <a:solidFill>
                            <a:schemeClr val="bg1"/>
                          </a:solidFill>
                          <a:latin typeface="+mj-lt"/>
                        </a:rPr>
                        <a:t>Vs. 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rPr dirty="0"/>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rPr dirty="0"/>
                        <a:t>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helf </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Price</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Unit</a:t>
            </a:r>
          </a:p>
          <a:p>
            <a:pPr marL="0" marR="0" lvl="0" indent="0" defTabSz="685749"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Nexa Bold" panose="00000800000000000000" pitchFamily="2" charset="0"/>
              </a:rPr>
              <a:t>(</a:t>
            </a:r>
            <a:r>
              <a:rPr lang="en-US" sz="800" dirty="0">
                <a:solidFill>
                  <a:schemeClr val="tx1"/>
                </a:solidFill>
                <a:highlight>
                  <a:srgbClr val="FFFF00"/>
                </a:highlight>
                <a:latin typeface="Nexa Bold" panose="00000800000000000000" pitchFamily="2" charset="0"/>
              </a:rPr>
              <a:t>€</a:t>
            </a:r>
            <a:r>
              <a:rPr lang="en-US" sz="800" dirty="0">
                <a:solidFill>
                  <a:schemeClr val="tx1"/>
                </a:solidFill>
                <a:latin typeface="Nexa Bold" panose="00000800000000000000" pitchFamily="2" charset="0"/>
              </a:rPr>
              <a:t>)</a:t>
            </a:r>
            <a:endPar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endParaRP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Value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ales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M)</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8/11/2025</a:t>
            </a:fld>
            <a:endParaRPr lang="en-US" sz="500"/>
          </a:p>
        </p:txBody>
      </p:sp>
    </p:spTree>
    <p:extLst>
      <p:ext uri="{BB962C8B-B14F-4D97-AF65-F5344CB8AC3E}">
        <p14:creationId xmlns:p14="http://schemas.microsoft.com/office/powerpoint/2010/main" val="224555801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r>
              <a:rPr lang="en-US" dirty="0"/>
              <a:t>Inter-size Discount  | </a:t>
            </a:r>
            <a:r>
              <a:rPr lang="en-US" dirty="0">
                <a:highlight>
                  <a:srgbClr val="FFFF00"/>
                </a:highlight>
              </a:rPr>
              <a:t>Variant</a:t>
            </a:r>
            <a:r>
              <a:rPr lang="en-US" dirty="0"/>
              <a:t> | </a:t>
            </a:r>
            <a:r>
              <a:rPr lang="en-US" dirty="0">
                <a:highlight>
                  <a:srgbClr val="FFFF00"/>
                </a:highlight>
              </a:rPr>
              <a:t>National</a:t>
            </a:r>
            <a:r>
              <a:rPr lang="en-US" dirty="0"/>
              <a:t> | P12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2800073758"/>
              </p:ext>
            </p:extLst>
          </p:nvPr>
        </p:nvGraphicFramePr>
        <p:xfrm>
          <a:off x="555229" y="4265104"/>
          <a:ext cx="7441138"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95492">
                  <a:extLst>
                    <a:ext uri="{9D8B030D-6E8A-4147-A177-3AD203B41FA5}">
                      <a16:colId xmlns:a16="http://schemas.microsoft.com/office/drawing/2014/main" val="2253286919"/>
                    </a:ext>
                  </a:extLst>
                </a:gridCol>
                <a:gridCol w="295492">
                  <a:extLst>
                    <a:ext uri="{9D8B030D-6E8A-4147-A177-3AD203B41FA5}">
                      <a16:colId xmlns:a16="http://schemas.microsoft.com/office/drawing/2014/main" val="2739285047"/>
                    </a:ext>
                  </a:extLst>
                </a:gridCol>
                <a:gridCol w="295492">
                  <a:extLst>
                    <a:ext uri="{9D8B030D-6E8A-4147-A177-3AD203B41FA5}">
                      <a16:colId xmlns:a16="http://schemas.microsoft.com/office/drawing/2014/main" val="686050863"/>
                    </a:ext>
                  </a:extLst>
                </a:gridCol>
                <a:gridCol w="295492">
                  <a:extLst>
                    <a:ext uri="{9D8B030D-6E8A-4147-A177-3AD203B41FA5}">
                      <a16:colId xmlns:a16="http://schemas.microsoft.com/office/drawing/2014/main" val="3765127706"/>
                    </a:ext>
                  </a:extLst>
                </a:gridCol>
                <a:gridCol w="295492">
                  <a:extLst>
                    <a:ext uri="{9D8B030D-6E8A-4147-A177-3AD203B41FA5}">
                      <a16:colId xmlns:a16="http://schemas.microsoft.com/office/drawing/2014/main" val="273303937"/>
                    </a:ext>
                  </a:extLst>
                </a:gridCol>
                <a:gridCol w="295492">
                  <a:extLst>
                    <a:ext uri="{9D8B030D-6E8A-4147-A177-3AD203B41FA5}">
                      <a16:colId xmlns:a16="http://schemas.microsoft.com/office/drawing/2014/main" val="1190134658"/>
                    </a:ext>
                  </a:extLst>
                </a:gridCol>
                <a:gridCol w="295492">
                  <a:extLst>
                    <a:ext uri="{9D8B030D-6E8A-4147-A177-3AD203B41FA5}">
                      <a16:colId xmlns:a16="http://schemas.microsoft.com/office/drawing/2014/main" val="1152288185"/>
                    </a:ext>
                  </a:extLst>
                </a:gridCol>
                <a:gridCol w="295492">
                  <a:extLst>
                    <a:ext uri="{9D8B030D-6E8A-4147-A177-3AD203B41FA5}">
                      <a16:colId xmlns:a16="http://schemas.microsoft.com/office/drawing/2014/main" val="1888319813"/>
                    </a:ext>
                  </a:extLst>
                </a:gridCol>
                <a:gridCol w="295492">
                  <a:extLst>
                    <a:ext uri="{9D8B030D-6E8A-4147-A177-3AD203B41FA5}">
                      <a16:colId xmlns:a16="http://schemas.microsoft.com/office/drawing/2014/main" val="3471064540"/>
                    </a:ext>
                  </a:extLst>
                </a:gridCol>
                <a:gridCol w="295492">
                  <a:extLst>
                    <a:ext uri="{9D8B030D-6E8A-4147-A177-3AD203B41FA5}">
                      <a16:colId xmlns:a16="http://schemas.microsoft.com/office/drawing/2014/main" val="670551899"/>
                    </a:ext>
                  </a:extLst>
                </a:gridCol>
                <a:gridCol w="295492">
                  <a:extLst>
                    <a:ext uri="{9D8B030D-6E8A-4147-A177-3AD203B41FA5}">
                      <a16:colId xmlns:a16="http://schemas.microsoft.com/office/drawing/2014/main" val="1100152168"/>
                    </a:ext>
                  </a:extLst>
                </a:gridCol>
                <a:gridCol w="295492">
                  <a:extLst>
                    <a:ext uri="{9D8B030D-6E8A-4147-A177-3AD203B41FA5}">
                      <a16:colId xmlns:a16="http://schemas.microsoft.com/office/drawing/2014/main" val="2165801595"/>
                    </a:ext>
                  </a:extLst>
                </a:gridCol>
                <a:gridCol w="295492">
                  <a:extLst>
                    <a:ext uri="{9D8B030D-6E8A-4147-A177-3AD203B41FA5}">
                      <a16:colId xmlns:a16="http://schemas.microsoft.com/office/drawing/2014/main" val="3981167565"/>
                    </a:ext>
                  </a:extLst>
                </a:gridCol>
                <a:gridCol w="295492">
                  <a:extLst>
                    <a:ext uri="{9D8B030D-6E8A-4147-A177-3AD203B41FA5}">
                      <a16:colId xmlns:a16="http://schemas.microsoft.com/office/drawing/2014/main" val="2740792325"/>
                    </a:ext>
                  </a:extLst>
                </a:gridCol>
                <a:gridCol w="295492">
                  <a:extLst>
                    <a:ext uri="{9D8B030D-6E8A-4147-A177-3AD203B41FA5}">
                      <a16:colId xmlns:a16="http://schemas.microsoft.com/office/drawing/2014/main" val="54782936"/>
                    </a:ext>
                  </a:extLst>
                </a:gridCol>
                <a:gridCol w="295492">
                  <a:extLst>
                    <a:ext uri="{9D8B030D-6E8A-4147-A177-3AD203B41FA5}">
                      <a16:colId xmlns:a16="http://schemas.microsoft.com/office/drawing/2014/main" val="154020430"/>
                    </a:ext>
                  </a:extLst>
                </a:gridCol>
                <a:gridCol w="295492">
                  <a:extLst>
                    <a:ext uri="{9D8B030D-6E8A-4147-A177-3AD203B41FA5}">
                      <a16:colId xmlns:a16="http://schemas.microsoft.com/office/drawing/2014/main" val="3928813835"/>
                    </a:ext>
                  </a:extLst>
                </a:gridCol>
                <a:gridCol w="295492">
                  <a:extLst>
                    <a:ext uri="{9D8B030D-6E8A-4147-A177-3AD203B41FA5}">
                      <a16:colId xmlns:a16="http://schemas.microsoft.com/office/drawing/2014/main" val="4210253042"/>
                    </a:ext>
                  </a:extLst>
                </a:gridCol>
                <a:gridCol w="295492">
                  <a:extLst>
                    <a:ext uri="{9D8B030D-6E8A-4147-A177-3AD203B41FA5}">
                      <a16:colId xmlns:a16="http://schemas.microsoft.com/office/drawing/2014/main" val="895787419"/>
                    </a:ext>
                  </a:extLst>
                </a:gridCol>
                <a:gridCol w="295492">
                  <a:extLst>
                    <a:ext uri="{9D8B030D-6E8A-4147-A177-3AD203B41FA5}">
                      <a16:colId xmlns:a16="http://schemas.microsoft.com/office/drawing/2014/main" val="3828388578"/>
                    </a:ext>
                  </a:extLst>
                </a:gridCol>
                <a:gridCol w="295492">
                  <a:extLst>
                    <a:ext uri="{9D8B030D-6E8A-4147-A177-3AD203B41FA5}">
                      <a16:colId xmlns:a16="http://schemas.microsoft.com/office/drawing/2014/main" val="742550205"/>
                    </a:ext>
                  </a:extLst>
                </a:gridCol>
                <a:gridCol w="295492">
                  <a:extLst>
                    <a:ext uri="{9D8B030D-6E8A-4147-A177-3AD203B41FA5}">
                      <a16:colId xmlns:a16="http://schemas.microsoft.com/office/drawing/2014/main" val="1408879461"/>
                    </a:ext>
                  </a:extLst>
                </a:gridCol>
              </a:tblGrid>
              <a:tr h="251292">
                <a:tc>
                  <a:txBody>
                    <a:bodyPr/>
                    <a:lstStyle/>
                    <a:p>
                      <a:r>
                        <a:rPr lang="en-US" sz="800" b="1" i="0" dirty="0">
                          <a:solidFill>
                            <a:schemeClr val="bg1"/>
                          </a:solidFill>
                          <a:latin typeface="+mj-lt"/>
                        </a:rPr>
                        <a:t>Sales </a:t>
                      </a:r>
                      <a:r>
                        <a:rPr lang="en-US" sz="800" b="1" i="0">
                          <a:solidFill>
                            <a:schemeClr val="bg1"/>
                          </a:solidFill>
                          <a:latin typeface="+mj-lt"/>
                        </a:rPr>
                        <a:t>Vs. 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rPr dirty="0"/>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rPr dirty="0"/>
                        <a:t>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helf </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Price</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Unit</a:t>
            </a:r>
          </a:p>
          <a:p>
            <a:pPr marL="0" marR="0" lvl="0" indent="0" defTabSz="685749"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Nexa Bold" panose="00000800000000000000" pitchFamily="2" charset="0"/>
              </a:rPr>
              <a:t>(</a:t>
            </a:r>
            <a:r>
              <a:rPr lang="en-US" sz="800" dirty="0">
                <a:solidFill>
                  <a:schemeClr val="tx1"/>
                </a:solidFill>
                <a:highlight>
                  <a:srgbClr val="FFFF00"/>
                </a:highlight>
                <a:latin typeface="Nexa Bold" panose="00000800000000000000" pitchFamily="2" charset="0"/>
              </a:rPr>
              <a:t>€</a:t>
            </a:r>
            <a:r>
              <a:rPr lang="en-US" sz="800" dirty="0">
                <a:solidFill>
                  <a:schemeClr val="tx1"/>
                </a:solidFill>
                <a:latin typeface="Nexa Bold" panose="00000800000000000000" pitchFamily="2" charset="0"/>
              </a:rPr>
              <a:t>)</a:t>
            </a:r>
            <a:endPar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endParaRP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Value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ales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M)</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8/11/2025</a:t>
            </a:fld>
            <a:endParaRPr lang="en-US" sz="500"/>
          </a:p>
        </p:txBody>
      </p:sp>
    </p:spTree>
    <p:extLst>
      <p:ext uri="{BB962C8B-B14F-4D97-AF65-F5344CB8AC3E}">
        <p14:creationId xmlns:p14="http://schemas.microsoft.com/office/powerpoint/2010/main" val="315918605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r>
              <a:rPr lang="en-US" dirty="0"/>
              <a:t>Inter-size Discount  | </a:t>
            </a:r>
            <a:r>
              <a:rPr lang="en-US" dirty="0">
                <a:highlight>
                  <a:srgbClr val="FFFF00"/>
                </a:highlight>
              </a:rPr>
              <a:t>Variant</a:t>
            </a:r>
            <a:r>
              <a:rPr lang="en-US" dirty="0"/>
              <a:t> | </a:t>
            </a:r>
            <a:r>
              <a:rPr lang="en-US" dirty="0">
                <a:highlight>
                  <a:srgbClr val="FFFF00"/>
                </a:highlight>
              </a:rPr>
              <a:t>National</a:t>
            </a:r>
            <a:r>
              <a:rPr lang="en-US" dirty="0"/>
              <a:t> | P12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2800073758"/>
              </p:ext>
            </p:extLst>
          </p:nvPr>
        </p:nvGraphicFramePr>
        <p:xfrm>
          <a:off x="555229" y="4265104"/>
          <a:ext cx="7441138"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95492">
                  <a:extLst>
                    <a:ext uri="{9D8B030D-6E8A-4147-A177-3AD203B41FA5}">
                      <a16:colId xmlns:a16="http://schemas.microsoft.com/office/drawing/2014/main" val="2253286919"/>
                    </a:ext>
                  </a:extLst>
                </a:gridCol>
                <a:gridCol w="295492">
                  <a:extLst>
                    <a:ext uri="{9D8B030D-6E8A-4147-A177-3AD203B41FA5}">
                      <a16:colId xmlns:a16="http://schemas.microsoft.com/office/drawing/2014/main" val="2739285047"/>
                    </a:ext>
                  </a:extLst>
                </a:gridCol>
                <a:gridCol w="295492">
                  <a:extLst>
                    <a:ext uri="{9D8B030D-6E8A-4147-A177-3AD203B41FA5}">
                      <a16:colId xmlns:a16="http://schemas.microsoft.com/office/drawing/2014/main" val="686050863"/>
                    </a:ext>
                  </a:extLst>
                </a:gridCol>
                <a:gridCol w="295492">
                  <a:extLst>
                    <a:ext uri="{9D8B030D-6E8A-4147-A177-3AD203B41FA5}">
                      <a16:colId xmlns:a16="http://schemas.microsoft.com/office/drawing/2014/main" val="3765127706"/>
                    </a:ext>
                  </a:extLst>
                </a:gridCol>
                <a:gridCol w="295492">
                  <a:extLst>
                    <a:ext uri="{9D8B030D-6E8A-4147-A177-3AD203B41FA5}">
                      <a16:colId xmlns:a16="http://schemas.microsoft.com/office/drawing/2014/main" val="273303937"/>
                    </a:ext>
                  </a:extLst>
                </a:gridCol>
                <a:gridCol w="295492">
                  <a:extLst>
                    <a:ext uri="{9D8B030D-6E8A-4147-A177-3AD203B41FA5}">
                      <a16:colId xmlns:a16="http://schemas.microsoft.com/office/drawing/2014/main" val="1190134658"/>
                    </a:ext>
                  </a:extLst>
                </a:gridCol>
                <a:gridCol w="295492">
                  <a:extLst>
                    <a:ext uri="{9D8B030D-6E8A-4147-A177-3AD203B41FA5}">
                      <a16:colId xmlns:a16="http://schemas.microsoft.com/office/drawing/2014/main" val="1152288185"/>
                    </a:ext>
                  </a:extLst>
                </a:gridCol>
                <a:gridCol w="295492">
                  <a:extLst>
                    <a:ext uri="{9D8B030D-6E8A-4147-A177-3AD203B41FA5}">
                      <a16:colId xmlns:a16="http://schemas.microsoft.com/office/drawing/2014/main" val="1888319813"/>
                    </a:ext>
                  </a:extLst>
                </a:gridCol>
                <a:gridCol w="295492">
                  <a:extLst>
                    <a:ext uri="{9D8B030D-6E8A-4147-A177-3AD203B41FA5}">
                      <a16:colId xmlns:a16="http://schemas.microsoft.com/office/drawing/2014/main" val="3471064540"/>
                    </a:ext>
                  </a:extLst>
                </a:gridCol>
                <a:gridCol w="295492">
                  <a:extLst>
                    <a:ext uri="{9D8B030D-6E8A-4147-A177-3AD203B41FA5}">
                      <a16:colId xmlns:a16="http://schemas.microsoft.com/office/drawing/2014/main" val="670551899"/>
                    </a:ext>
                  </a:extLst>
                </a:gridCol>
                <a:gridCol w="295492">
                  <a:extLst>
                    <a:ext uri="{9D8B030D-6E8A-4147-A177-3AD203B41FA5}">
                      <a16:colId xmlns:a16="http://schemas.microsoft.com/office/drawing/2014/main" val="1100152168"/>
                    </a:ext>
                  </a:extLst>
                </a:gridCol>
                <a:gridCol w="295492">
                  <a:extLst>
                    <a:ext uri="{9D8B030D-6E8A-4147-A177-3AD203B41FA5}">
                      <a16:colId xmlns:a16="http://schemas.microsoft.com/office/drawing/2014/main" val="2165801595"/>
                    </a:ext>
                  </a:extLst>
                </a:gridCol>
                <a:gridCol w="295492">
                  <a:extLst>
                    <a:ext uri="{9D8B030D-6E8A-4147-A177-3AD203B41FA5}">
                      <a16:colId xmlns:a16="http://schemas.microsoft.com/office/drawing/2014/main" val="3981167565"/>
                    </a:ext>
                  </a:extLst>
                </a:gridCol>
                <a:gridCol w="295492">
                  <a:extLst>
                    <a:ext uri="{9D8B030D-6E8A-4147-A177-3AD203B41FA5}">
                      <a16:colId xmlns:a16="http://schemas.microsoft.com/office/drawing/2014/main" val="2740792325"/>
                    </a:ext>
                  </a:extLst>
                </a:gridCol>
                <a:gridCol w="295492">
                  <a:extLst>
                    <a:ext uri="{9D8B030D-6E8A-4147-A177-3AD203B41FA5}">
                      <a16:colId xmlns:a16="http://schemas.microsoft.com/office/drawing/2014/main" val="54782936"/>
                    </a:ext>
                  </a:extLst>
                </a:gridCol>
                <a:gridCol w="295492">
                  <a:extLst>
                    <a:ext uri="{9D8B030D-6E8A-4147-A177-3AD203B41FA5}">
                      <a16:colId xmlns:a16="http://schemas.microsoft.com/office/drawing/2014/main" val="154020430"/>
                    </a:ext>
                  </a:extLst>
                </a:gridCol>
                <a:gridCol w="295492">
                  <a:extLst>
                    <a:ext uri="{9D8B030D-6E8A-4147-A177-3AD203B41FA5}">
                      <a16:colId xmlns:a16="http://schemas.microsoft.com/office/drawing/2014/main" val="3928813835"/>
                    </a:ext>
                  </a:extLst>
                </a:gridCol>
                <a:gridCol w="295492">
                  <a:extLst>
                    <a:ext uri="{9D8B030D-6E8A-4147-A177-3AD203B41FA5}">
                      <a16:colId xmlns:a16="http://schemas.microsoft.com/office/drawing/2014/main" val="4210253042"/>
                    </a:ext>
                  </a:extLst>
                </a:gridCol>
                <a:gridCol w="295492">
                  <a:extLst>
                    <a:ext uri="{9D8B030D-6E8A-4147-A177-3AD203B41FA5}">
                      <a16:colId xmlns:a16="http://schemas.microsoft.com/office/drawing/2014/main" val="895787419"/>
                    </a:ext>
                  </a:extLst>
                </a:gridCol>
                <a:gridCol w="295492">
                  <a:extLst>
                    <a:ext uri="{9D8B030D-6E8A-4147-A177-3AD203B41FA5}">
                      <a16:colId xmlns:a16="http://schemas.microsoft.com/office/drawing/2014/main" val="3828388578"/>
                    </a:ext>
                  </a:extLst>
                </a:gridCol>
                <a:gridCol w="295492">
                  <a:extLst>
                    <a:ext uri="{9D8B030D-6E8A-4147-A177-3AD203B41FA5}">
                      <a16:colId xmlns:a16="http://schemas.microsoft.com/office/drawing/2014/main" val="742550205"/>
                    </a:ext>
                  </a:extLst>
                </a:gridCol>
                <a:gridCol w="295492">
                  <a:extLst>
                    <a:ext uri="{9D8B030D-6E8A-4147-A177-3AD203B41FA5}">
                      <a16:colId xmlns:a16="http://schemas.microsoft.com/office/drawing/2014/main" val="1408879461"/>
                    </a:ext>
                  </a:extLst>
                </a:gridCol>
              </a:tblGrid>
              <a:tr h="251292">
                <a:tc>
                  <a:txBody>
                    <a:bodyPr/>
                    <a:lstStyle/>
                    <a:p>
                      <a:r>
                        <a:rPr lang="en-US" sz="800" b="1" i="0" dirty="0">
                          <a:solidFill>
                            <a:schemeClr val="bg1"/>
                          </a:solidFill>
                          <a:latin typeface="+mj-lt"/>
                        </a:rPr>
                        <a:t>Sales </a:t>
                      </a:r>
                      <a:r>
                        <a:rPr lang="en-US" sz="800" b="1" i="0">
                          <a:solidFill>
                            <a:schemeClr val="bg1"/>
                          </a:solidFill>
                          <a:latin typeface="+mj-lt"/>
                        </a:rPr>
                        <a:t>Vs. 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rPr dirty="0"/>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rPr dirty="0"/>
                        <a:t>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helf </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Price</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Unit</a:t>
            </a:r>
          </a:p>
          <a:p>
            <a:pPr marL="0" marR="0" lvl="0" indent="0" defTabSz="685749"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Nexa Bold" panose="00000800000000000000" pitchFamily="2" charset="0"/>
              </a:rPr>
              <a:t>(</a:t>
            </a:r>
            <a:r>
              <a:rPr lang="en-US" sz="800" dirty="0">
                <a:solidFill>
                  <a:schemeClr val="tx1"/>
                </a:solidFill>
                <a:highlight>
                  <a:srgbClr val="FFFF00"/>
                </a:highlight>
                <a:latin typeface="Nexa Bold" panose="00000800000000000000" pitchFamily="2" charset="0"/>
              </a:rPr>
              <a:t>€</a:t>
            </a:r>
            <a:r>
              <a:rPr lang="en-US" sz="800" dirty="0">
                <a:solidFill>
                  <a:schemeClr val="tx1"/>
                </a:solidFill>
                <a:latin typeface="Nexa Bold" panose="00000800000000000000" pitchFamily="2" charset="0"/>
              </a:rPr>
              <a:t>)</a:t>
            </a:r>
            <a:endPar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endParaRP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Value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ales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M)</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8/11/2025</a:t>
            </a:fld>
            <a:endParaRPr lang="en-US" sz="500"/>
          </a:p>
        </p:txBody>
      </p:sp>
    </p:spTree>
    <p:extLst>
      <p:ext uri="{BB962C8B-B14F-4D97-AF65-F5344CB8AC3E}">
        <p14:creationId xmlns:p14="http://schemas.microsoft.com/office/powerpoint/2010/main" val="80109756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r>
              <a:rPr lang="en-US" dirty="0"/>
              <a:t>Inter-size Discount  | </a:t>
            </a:r>
            <a:r>
              <a:rPr lang="en-US" dirty="0">
                <a:highlight>
                  <a:srgbClr val="FFFF00"/>
                </a:highlight>
              </a:rPr>
              <a:t>Variant</a:t>
            </a:r>
            <a:r>
              <a:rPr lang="en-US" dirty="0"/>
              <a:t> | </a:t>
            </a:r>
            <a:r>
              <a:rPr lang="en-US" dirty="0">
                <a:highlight>
                  <a:srgbClr val="FFFF00"/>
                </a:highlight>
              </a:rPr>
              <a:t>National</a:t>
            </a:r>
            <a:r>
              <a:rPr lang="en-US" dirty="0"/>
              <a:t> | P12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2800073758"/>
              </p:ext>
            </p:extLst>
          </p:nvPr>
        </p:nvGraphicFramePr>
        <p:xfrm>
          <a:off x="555229" y="4265104"/>
          <a:ext cx="7441138"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95492">
                  <a:extLst>
                    <a:ext uri="{9D8B030D-6E8A-4147-A177-3AD203B41FA5}">
                      <a16:colId xmlns:a16="http://schemas.microsoft.com/office/drawing/2014/main" val="2253286919"/>
                    </a:ext>
                  </a:extLst>
                </a:gridCol>
                <a:gridCol w="295492">
                  <a:extLst>
                    <a:ext uri="{9D8B030D-6E8A-4147-A177-3AD203B41FA5}">
                      <a16:colId xmlns:a16="http://schemas.microsoft.com/office/drawing/2014/main" val="2739285047"/>
                    </a:ext>
                  </a:extLst>
                </a:gridCol>
                <a:gridCol w="295492">
                  <a:extLst>
                    <a:ext uri="{9D8B030D-6E8A-4147-A177-3AD203B41FA5}">
                      <a16:colId xmlns:a16="http://schemas.microsoft.com/office/drawing/2014/main" val="686050863"/>
                    </a:ext>
                  </a:extLst>
                </a:gridCol>
                <a:gridCol w="295492">
                  <a:extLst>
                    <a:ext uri="{9D8B030D-6E8A-4147-A177-3AD203B41FA5}">
                      <a16:colId xmlns:a16="http://schemas.microsoft.com/office/drawing/2014/main" val="3765127706"/>
                    </a:ext>
                  </a:extLst>
                </a:gridCol>
                <a:gridCol w="295492">
                  <a:extLst>
                    <a:ext uri="{9D8B030D-6E8A-4147-A177-3AD203B41FA5}">
                      <a16:colId xmlns:a16="http://schemas.microsoft.com/office/drawing/2014/main" val="273303937"/>
                    </a:ext>
                  </a:extLst>
                </a:gridCol>
                <a:gridCol w="295492">
                  <a:extLst>
                    <a:ext uri="{9D8B030D-6E8A-4147-A177-3AD203B41FA5}">
                      <a16:colId xmlns:a16="http://schemas.microsoft.com/office/drawing/2014/main" val="1190134658"/>
                    </a:ext>
                  </a:extLst>
                </a:gridCol>
                <a:gridCol w="295492">
                  <a:extLst>
                    <a:ext uri="{9D8B030D-6E8A-4147-A177-3AD203B41FA5}">
                      <a16:colId xmlns:a16="http://schemas.microsoft.com/office/drawing/2014/main" val="1152288185"/>
                    </a:ext>
                  </a:extLst>
                </a:gridCol>
                <a:gridCol w="295492">
                  <a:extLst>
                    <a:ext uri="{9D8B030D-6E8A-4147-A177-3AD203B41FA5}">
                      <a16:colId xmlns:a16="http://schemas.microsoft.com/office/drawing/2014/main" val="1888319813"/>
                    </a:ext>
                  </a:extLst>
                </a:gridCol>
                <a:gridCol w="295492">
                  <a:extLst>
                    <a:ext uri="{9D8B030D-6E8A-4147-A177-3AD203B41FA5}">
                      <a16:colId xmlns:a16="http://schemas.microsoft.com/office/drawing/2014/main" val="3471064540"/>
                    </a:ext>
                  </a:extLst>
                </a:gridCol>
                <a:gridCol w="295492">
                  <a:extLst>
                    <a:ext uri="{9D8B030D-6E8A-4147-A177-3AD203B41FA5}">
                      <a16:colId xmlns:a16="http://schemas.microsoft.com/office/drawing/2014/main" val="670551899"/>
                    </a:ext>
                  </a:extLst>
                </a:gridCol>
                <a:gridCol w="295492">
                  <a:extLst>
                    <a:ext uri="{9D8B030D-6E8A-4147-A177-3AD203B41FA5}">
                      <a16:colId xmlns:a16="http://schemas.microsoft.com/office/drawing/2014/main" val="1100152168"/>
                    </a:ext>
                  </a:extLst>
                </a:gridCol>
                <a:gridCol w="295492">
                  <a:extLst>
                    <a:ext uri="{9D8B030D-6E8A-4147-A177-3AD203B41FA5}">
                      <a16:colId xmlns:a16="http://schemas.microsoft.com/office/drawing/2014/main" val="2165801595"/>
                    </a:ext>
                  </a:extLst>
                </a:gridCol>
                <a:gridCol w="295492">
                  <a:extLst>
                    <a:ext uri="{9D8B030D-6E8A-4147-A177-3AD203B41FA5}">
                      <a16:colId xmlns:a16="http://schemas.microsoft.com/office/drawing/2014/main" val="3981167565"/>
                    </a:ext>
                  </a:extLst>
                </a:gridCol>
                <a:gridCol w="295492">
                  <a:extLst>
                    <a:ext uri="{9D8B030D-6E8A-4147-A177-3AD203B41FA5}">
                      <a16:colId xmlns:a16="http://schemas.microsoft.com/office/drawing/2014/main" val="2740792325"/>
                    </a:ext>
                  </a:extLst>
                </a:gridCol>
                <a:gridCol w="295492">
                  <a:extLst>
                    <a:ext uri="{9D8B030D-6E8A-4147-A177-3AD203B41FA5}">
                      <a16:colId xmlns:a16="http://schemas.microsoft.com/office/drawing/2014/main" val="54782936"/>
                    </a:ext>
                  </a:extLst>
                </a:gridCol>
                <a:gridCol w="295492">
                  <a:extLst>
                    <a:ext uri="{9D8B030D-6E8A-4147-A177-3AD203B41FA5}">
                      <a16:colId xmlns:a16="http://schemas.microsoft.com/office/drawing/2014/main" val="154020430"/>
                    </a:ext>
                  </a:extLst>
                </a:gridCol>
                <a:gridCol w="295492">
                  <a:extLst>
                    <a:ext uri="{9D8B030D-6E8A-4147-A177-3AD203B41FA5}">
                      <a16:colId xmlns:a16="http://schemas.microsoft.com/office/drawing/2014/main" val="3928813835"/>
                    </a:ext>
                  </a:extLst>
                </a:gridCol>
                <a:gridCol w="295492">
                  <a:extLst>
                    <a:ext uri="{9D8B030D-6E8A-4147-A177-3AD203B41FA5}">
                      <a16:colId xmlns:a16="http://schemas.microsoft.com/office/drawing/2014/main" val="4210253042"/>
                    </a:ext>
                  </a:extLst>
                </a:gridCol>
                <a:gridCol w="295492">
                  <a:extLst>
                    <a:ext uri="{9D8B030D-6E8A-4147-A177-3AD203B41FA5}">
                      <a16:colId xmlns:a16="http://schemas.microsoft.com/office/drawing/2014/main" val="895787419"/>
                    </a:ext>
                  </a:extLst>
                </a:gridCol>
                <a:gridCol w="295492">
                  <a:extLst>
                    <a:ext uri="{9D8B030D-6E8A-4147-A177-3AD203B41FA5}">
                      <a16:colId xmlns:a16="http://schemas.microsoft.com/office/drawing/2014/main" val="3828388578"/>
                    </a:ext>
                  </a:extLst>
                </a:gridCol>
                <a:gridCol w="295492">
                  <a:extLst>
                    <a:ext uri="{9D8B030D-6E8A-4147-A177-3AD203B41FA5}">
                      <a16:colId xmlns:a16="http://schemas.microsoft.com/office/drawing/2014/main" val="742550205"/>
                    </a:ext>
                  </a:extLst>
                </a:gridCol>
                <a:gridCol w="295492">
                  <a:extLst>
                    <a:ext uri="{9D8B030D-6E8A-4147-A177-3AD203B41FA5}">
                      <a16:colId xmlns:a16="http://schemas.microsoft.com/office/drawing/2014/main" val="1408879461"/>
                    </a:ext>
                  </a:extLst>
                </a:gridCol>
              </a:tblGrid>
              <a:tr h="251292">
                <a:tc>
                  <a:txBody>
                    <a:bodyPr/>
                    <a:lstStyle/>
                    <a:p>
                      <a:r>
                        <a:rPr lang="en-US" sz="800" b="1" i="0" dirty="0">
                          <a:solidFill>
                            <a:schemeClr val="bg1"/>
                          </a:solidFill>
                          <a:latin typeface="+mj-lt"/>
                        </a:rPr>
                        <a:t>Sales </a:t>
                      </a:r>
                      <a:r>
                        <a:rPr lang="en-US" sz="800" b="1" i="0">
                          <a:solidFill>
                            <a:schemeClr val="bg1"/>
                          </a:solidFill>
                          <a:latin typeface="+mj-lt"/>
                        </a:rPr>
                        <a:t>Vs. 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rPr dirty="0"/>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rPr dirty="0"/>
                        <a:t>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helf </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Price</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Unit</a:t>
            </a:r>
          </a:p>
          <a:p>
            <a:pPr marL="0" marR="0" lvl="0" indent="0" defTabSz="685749"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Nexa Bold" panose="00000800000000000000" pitchFamily="2" charset="0"/>
              </a:rPr>
              <a:t>(</a:t>
            </a:r>
            <a:r>
              <a:rPr lang="en-US" sz="800" dirty="0">
                <a:solidFill>
                  <a:schemeClr val="tx1"/>
                </a:solidFill>
                <a:highlight>
                  <a:srgbClr val="FFFF00"/>
                </a:highlight>
                <a:latin typeface="Nexa Bold" panose="00000800000000000000" pitchFamily="2" charset="0"/>
              </a:rPr>
              <a:t>€</a:t>
            </a:r>
            <a:r>
              <a:rPr lang="en-US" sz="800" dirty="0">
                <a:solidFill>
                  <a:schemeClr val="tx1"/>
                </a:solidFill>
                <a:latin typeface="Nexa Bold" panose="00000800000000000000" pitchFamily="2" charset="0"/>
              </a:rPr>
              <a:t>)</a:t>
            </a:r>
            <a:endPar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endParaRP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Value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ales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M)</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8/11/2025</a:t>
            </a:fld>
            <a:endParaRPr lang="en-US" sz="500"/>
          </a:p>
        </p:txBody>
      </p:sp>
    </p:spTree>
    <p:extLst>
      <p:ext uri="{BB962C8B-B14F-4D97-AF65-F5344CB8AC3E}">
        <p14:creationId xmlns:p14="http://schemas.microsoft.com/office/powerpoint/2010/main" val="157528890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r>
              <a:rPr lang="en-US" dirty="0"/>
              <a:t>Inter-size Discount  | </a:t>
            </a:r>
            <a:r>
              <a:rPr lang="en-US" dirty="0">
                <a:highlight>
                  <a:srgbClr val="FFFF00"/>
                </a:highlight>
              </a:rPr>
              <a:t>Variant</a:t>
            </a:r>
            <a:r>
              <a:rPr lang="en-US" dirty="0"/>
              <a:t> | </a:t>
            </a:r>
            <a:r>
              <a:rPr lang="en-US" dirty="0">
                <a:highlight>
                  <a:srgbClr val="FFFF00"/>
                </a:highlight>
              </a:rPr>
              <a:t>National</a:t>
            </a:r>
            <a:r>
              <a:rPr lang="en-US" dirty="0"/>
              <a:t> | P12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2800073758"/>
              </p:ext>
            </p:extLst>
          </p:nvPr>
        </p:nvGraphicFramePr>
        <p:xfrm>
          <a:off x="555229" y="4265104"/>
          <a:ext cx="7441138"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95492">
                  <a:extLst>
                    <a:ext uri="{9D8B030D-6E8A-4147-A177-3AD203B41FA5}">
                      <a16:colId xmlns:a16="http://schemas.microsoft.com/office/drawing/2014/main" val="2253286919"/>
                    </a:ext>
                  </a:extLst>
                </a:gridCol>
                <a:gridCol w="295492">
                  <a:extLst>
                    <a:ext uri="{9D8B030D-6E8A-4147-A177-3AD203B41FA5}">
                      <a16:colId xmlns:a16="http://schemas.microsoft.com/office/drawing/2014/main" val="2739285047"/>
                    </a:ext>
                  </a:extLst>
                </a:gridCol>
                <a:gridCol w="295492">
                  <a:extLst>
                    <a:ext uri="{9D8B030D-6E8A-4147-A177-3AD203B41FA5}">
                      <a16:colId xmlns:a16="http://schemas.microsoft.com/office/drawing/2014/main" val="686050863"/>
                    </a:ext>
                  </a:extLst>
                </a:gridCol>
                <a:gridCol w="295492">
                  <a:extLst>
                    <a:ext uri="{9D8B030D-6E8A-4147-A177-3AD203B41FA5}">
                      <a16:colId xmlns:a16="http://schemas.microsoft.com/office/drawing/2014/main" val="3765127706"/>
                    </a:ext>
                  </a:extLst>
                </a:gridCol>
                <a:gridCol w="295492">
                  <a:extLst>
                    <a:ext uri="{9D8B030D-6E8A-4147-A177-3AD203B41FA5}">
                      <a16:colId xmlns:a16="http://schemas.microsoft.com/office/drawing/2014/main" val="273303937"/>
                    </a:ext>
                  </a:extLst>
                </a:gridCol>
                <a:gridCol w="295492">
                  <a:extLst>
                    <a:ext uri="{9D8B030D-6E8A-4147-A177-3AD203B41FA5}">
                      <a16:colId xmlns:a16="http://schemas.microsoft.com/office/drawing/2014/main" val="1190134658"/>
                    </a:ext>
                  </a:extLst>
                </a:gridCol>
                <a:gridCol w="295492">
                  <a:extLst>
                    <a:ext uri="{9D8B030D-6E8A-4147-A177-3AD203B41FA5}">
                      <a16:colId xmlns:a16="http://schemas.microsoft.com/office/drawing/2014/main" val="1152288185"/>
                    </a:ext>
                  </a:extLst>
                </a:gridCol>
                <a:gridCol w="295492">
                  <a:extLst>
                    <a:ext uri="{9D8B030D-6E8A-4147-A177-3AD203B41FA5}">
                      <a16:colId xmlns:a16="http://schemas.microsoft.com/office/drawing/2014/main" val="1888319813"/>
                    </a:ext>
                  </a:extLst>
                </a:gridCol>
                <a:gridCol w="295492">
                  <a:extLst>
                    <a:ext uri="{9D8B030D-6E8A-4147-A177-3AD203B41FA5}">
                      <a16:colId xmlns:a16="http://schemas.microsoft.com/office/drawing/2014/main" val="3471064540"/>
                    </a:ext>
                  </a:extLst>
                </a:gridCol>
                <a:gridCol w="295492">
                  <a:extLst>
                    <a:ext uri="{9D8B030D-6E8A-4147-A177-3AD203B41FA5}">
                      <a16:colId xmlns:a16="http://schemas.microsoft.com/office/drawing/2014/main" val="670551899"/>
                    </a:ext>
                  </a:extLst>
                </a:gridCol>
                <a:gridCol w="295492">
                  <a:extLst>
                    <a:ext uri="{9D8B030D-6E8A-4147-A177-3AD203B41FA5}">
                      <a16:colId xmlns:a16="http://schemas.microsoft.com/office/drawing/2014/main" val="1100152168"/>
                    </a:ext>
                  </a:extLst>
                </a:gridCol>
                <a:gridCol w="295492">
                  <a:extLst>
                    <a:ext uri="{9D8B030D-6E8A-4147-A177-3AD203B41FA5}">
                      <a16:colId xmlns:a16="http://schemas.microsoft.com/office/drawing/2014/main" val="2165801595"/>
                    </a:ext>
                  </a:extLst>
                </a:gridCol>
                <a:gridCol w="295492">
                  <a:extLst>
                    <a:ext uri="{9D8B030D-6E8A-4147-A177-3AD203B41FA5}">
                      <a16:colId xmlns:a16="http://schemas.microsoft.com/office/drawing/2014/main" val="3981167565"/>
                    </a:ext>
                  </a:extLst>
                </a:gridCol>
                <a:gridCol w="295492">
                  <a:extLst>
                    <a:ext uri="{9D8B030D-6E8A-4147-A177-3AD203B41FA5}">
                      <a16:colId xmlns:a16="http://schemas.microsoft.com/office/drawing/2014/main" val="2740792325"/>
                    </a:ext>
                  </a:extLst>
                </a:gridCol>
                <a:gridCol w="295492">
                  <a:extLst>
                    <a:ext uri="{9D8B030D-6E8A-4147-A177-3AD203B41FA5}">
                      <a16:colId xmlns:a16="http://schemas.microsoft.com/office/drawing/2014/main" val="54782936"/>
                    </a:ext>
                  </a:extLst>
                </a:gridCol>
                <a:gridCol w="295492">
                  <a:extLst>
                    <a:ext uri="{9D8B030D-6E8A-4147-A177-3AD203B41FA5}">
                      <a16:colId xmlns:a16="http://schemas.microsoft.com/office/drawing/2014/main" val="154020430"/>
                    </a:ext>
                  </a:extLst>
                </a:gridCol>
                <a:gridCol w="295492">
                  <a:extLst>
                    <a:ext uri="{9D8B030D-6E8A-4147-A177-3AD203B41FA5}">
                      <a16:colId xmlns:a16="http://schemas.microsoft.com/office/drawing/2014/main" val="3928813835"/>
                    </a:ext>
                  </a:extLst>
                </a:gridCol>
                <a:gridCol w="295492">
                  <a:extLst>
                    <a:ext uri="{9D8B030D-6E8A-4147-A177-3AD203B41FA5}">
                      <a16:colId xmlns:a16="http://schemas.microsoft.com/office/drawing/2014/main" val="4210253042"/>
                    </a:ext>
                  </a:extLst>
                </a:gridCol>
                <a:gridCol w="295492">
                  <a:extLst>
                    <a:ext uri="{9D8B030D-6E8A-4147-A177-3AD203B41FA5}">
                      <a16:colId xmlns:a16="http://schemas.microsoft.com/office/drawing/2014/main" val="895787419"/>
                    </a:ext>
                  </a:extLst>
                </a:gridCol>
                <a:gridCol w="295492">
                  <a:extLst>
                    <a:ext uri="{9D8B030D-6E8A-4147-A177-3AD203B41FA5}">
                      <a16:colId xmlns:a16="http://schemas.microsoft.com/office/drawing/2014/main" val="3828388578"/>
                    </a:ext>
                  </a:extLst>
                </a:gridCol>
                <a:gridCol w="295492">
                  <a:extLst>
                    <a:ext uri="{9D8B030D-6E8A-4147-A177-3AD203B41FA5}">
                      <a16:colId xmlns:a16="http://schemas.microsoft.com/office/drawing/2014/main" val="742550205"/>
                    </a:ext>
                  </a:extLst>
                </a:gridCol>
                <a:gridCol w="295492">
                  <a:extLst>
                    <a:ext uri="{9D8B030D-6E8A-4147-A177-3AD203B41FA5}">
                      <a16:colId xmlns:a16="http://schemas.microsoft.com/office/drawing/2014/main" val="1408879461"/>
                    </a:ext>
                  </a:extLst>
                </a:gridCol>
              </a:tblGrid>
              <a:tr h="251292">
                <a:tc>
                  <a:txBody>
                    <a:bodyPr/>
                    <a:lstStyle/>
                    <a:p>
                      <a:r>
                        <a:rPr lang="en-US" sz="800" b="1" i="0" dirty="0">
                          <a:solidFill>
                            <a:schemeClr val="bg1"/>
                          </a:solidFill>
                          <a:latin typeface="+mj-lt"/>
                        </a:rPr>
                        <a:t>Sales </a:t>
                      </a:r>
                      <a:r>
                        <a:rPr lang="en-US" sz="800" b="1" i="0">
                          <a:solidFill>
                            <a:schemeClr val="bg1"/>
                          </a:solidFill>
                          <a:latin typeface="+mj-lt"/>
                        </a:rPr>
                        <a:t>Vs. 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rPr dirty="0"/>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rPr dirty="0"/>
                        <a:t>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helf </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Price</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Unit</a:t>
            </a:r>
          </a:p>
          <a:p>
            <a:pPr marL="0" marR="0" lvl="0" indent="0" defTabSz="685749"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Nexa Bold" panose="00000800000000000000" pitchFamily="2" charset="0"/>
              </a:rPr>
              <a:t>(</a:t>
            </a:r>
            <a:r>
              <a:rPr lang="en-US" sz="800" dirty="0">
                <a:solidFill>
                  <a:schemeClr val="tx1"/>
                </a:solidFill>
                <a:highlight>
                  <a:srgbClr val="FFFF00"/>
                </a:highlight>
                <a:latin typeface="Nexa Bold" panose="00000800000000000000" pitchFamily="2" charset="0"/>
              </a:rPr>
              <a:t>€</a:t>
            </a:r>
            <a:r>
              <a:rPr lang="en-US" sz="800" dirty="0">
                <a:solidFill>
                  <a:schemeClr val="tx1"/>
                </a:solidFill>
                <a:latin typeface="Nexa Bold" panose="00000800000000000000" pitchFamily="2" charset="0"/>
              </a:rPr>
              <a:t>)</a:t>
            </a:r>
            <a:endPar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endParaRP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Value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ales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M)</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8/11/2025</a:t>
            </a:fld>
            <a:endParaRPr lang="en-US" sz="500"/>
          </a:p>
        </p:txBody>
      </p:sp>
    </p:spTree>
    <p:extLst>
      <p:ext uri="{BB962C8B-B14F-4D97-AF65-F5344CB8AC3E}">
        <p14:creationId xmlns:p14="http://schemas.microsoft.com/office/powerpoint/2010/main" val="50416672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r>
              <a:rPr lang="en-US" dirty="0"/>
              <a:t>Inter-size Discount  | </a:t>
            </a:r>
            <a:r>
              <a:rPr lang="en-US" dirty="0">
                <a:highlight>
                  <a:srgbClr val="FFFF00"/>
                </a:highlight>
              </a:rPr>
              <a:t>Variant</a:t>
            </a:r>
            <a:r>
              <a:rPr lang="en-US" dirty="0"/>
              <a:t> | </a:t>
            </a:r>
            <a:r>
              <a:rPr lang="en-US" dirty="0">
                <a:highlight>
                  <a:srgbClr val="FFFF00"/>
                </a:highlight>
              </a:rPr>
              <a:t>National</a:t>
            </a:r>
            <a:r>
              <a:rPr lang="en-US" dirty="0"/>
              <a:t> | P12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2800073758"/>
              </p:ext>
            </p:extLst>
          </p:nvPr>
        </p:nvGraphicFramePr>
        <p:xfrm>
          <a:off x="555229" y="4265104"/>
          <a:ext cx="7441138"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95492">
                  <a:extLst>
                    <a:ext uri="{9D8B030D-6E8A-4147-A177-3AD203B41FA5}">
                      <a16:colId xmlns:a16="http://schemas.microsoft.com/office/drawing/2014/main" val="2253286919"/>
                    </a:ext>
                  </a:extLst>
                </a:gridCol>
                <a:gridCol w="295492">
                  <a:extLst>
                    <a:ext uri="{9D8B030D-6E8A-4147-A177-3AD203B41FA5}">
                      <a16:colId xmlns:a16="http://schemas.microsoft.com/office/drawing/2014/main" val="2739285047"/>
                    </a:ext>
                  </a:extLst>
                </a:gridCol>
                <a:gridCol w="295492">
                  <a:extLst>
                    <a:ext uri="{9D8B030D-6E8A-4147-A177-3AD203B41FA5}">
                      <a16:colId xmlns:a16="http://schemas.microsoft.com/office/drawing/2014/main" val="686050863"/>
                    </a:ext>
                  </a:extLst>
                </a:gridCol>
                <a:gridCol w="295492">
                  <a:extLst>
                    <a:ext uri="{9D8B030D-6E8A-4147-A177-3AD203B41FA5}">
                      <a16:colId xmlns:a16="http://schemas.microsoft.com/office/drawing/2014/main" val="3765127706"/>
                    </a:ext>
                  </a:extLst>
                </a:gridCol>
                <a:gridCol w="295492">
                  <a:extLst>
                    <a:ext uri="{9D8B030D-6E8A-4147-A177-3AD203B41FA5}">
                      <a16:colId xmlns:a16="http://schemas.microsoft.com/office/drawing/2014/main" val="273303937"/>
                    </a:ext>
                  </a:extLst>
                </a:gridCol>
                <a:gridCol w="295492">
                  <a:extLst>
                    <a:ext uri="{9D8B030D-6E8A-4147-A177-3AD203B41FA5}">
                      <a16:colId xmlns:a16="http://schemas.microsoft.com/office/drawing/2014/main" val="1190134658"/>
                    </a:ext>
                  </a:extLst>
                </a:gridCol>
                <a:gridCol w="295492">
                  <a:extLst>
                    <a:ext uri="{9D8B030D-6E8A-4147-A177-3AD203B41FA5}">
                      <a16:colId xmlns:a16="http://schemas.microsoft.com/office/drawing/2014/main" val="1152288185"/>
                    </a:ext>
                  </a:extLst>
                </a:gridCol>
                <a:gridCol w="295492">
                  <a:extLst>
                    <a:ext uri="{9D8B030D-6E8A-4147-A177-3AD203B41FA5}">
                      <a16:colId xmlns:a16="http://schemas.microsoft.com/office/drawing/2014/main" val="1888319813"/>
                    </a:ext>
                  </a:extLst>
                </a:gridCol>
                <a:gridCol w="295492">
                  <a:extLst>
                    <a:ext uri="{9D8B030D-6E8A-4147-A177-3AD203B41FA5}">
                      <a16:colId xmlns:a16="http://schemas.microsoft.com/office/drawing/2014/main" val="3471064540"/>
                    </a:ext>
                  </a:extLst>
                </a:gridCol>
                <a:gridCol w="295492">
                  <a:extLst>
                    <a:ext uri="{9D8B030D-6E8A-4147-A177-3AD203B41FA5}">
                      <a16:colId xmlns:a16="http://schemas.microsoft.com/office/drawing/2014/main" val="670551899"/>
                    </a:ext>
                  </a:extLst>
                </a:gridCol>
                <a:gridCol w="295492">
                  <a:extLst>
                    <a:ext uri="{9D8B030D-6E8A-4147-A177-3AD203B41FA5}">
                      <a16:colId xmlns:a16="http://schemas.microsoft.com/office/drawing/2014/main" val="1100152168"/>
                    </a:ext>
                  </a:extLst>
                </a:gridCol>
                <a:gridCol w="295492">
                  <a:extLst>
                    <a:ext uri="{9D8B030D-6E8A-4147-A177-3AD203B41FA5}">
                      <a16:colId xmlns:a16="http://schemas.microsoft.com/office/drawing/2014/main" val="2165801595"/>
                    </a:ext>
                  </a:extLst>
                </a:gridCol>
                <a:gridCol w="295492">
                  <a:extLst>
                    <a:ext uri="{9D8B030D-6E8A-4147-A177-3AD203B41FA5}">
                      <a16:colId xmlns:a16="http://schemas.microsoft.com/office/drawing/2014/main" val="3981167565"/>
                    </a:ext>
                  </a:extLst>
                </a:gridCol>
                <a:gridCol w="295492">
                  <a:extLst>
                    <a:ext uri="{9D8B030D-6E8A-4147-A177-3AD203B41FA5}">
                      <a16:colId xmlns:a16="http://schemas.microsoft.com/office/drawing/2014/main" val="2740792325"/>
                    </a:ext>
                  </a:extLst>
                </a:gridCol>
                <a:gridCol w="295492">
                  <a:extLst>
                    <a:ext uri="{9D8B030D-6E8A-4147-A177-3AD203B41FA5}">
                      <a16:colId xmlns:a16="http://schemas.microsoft.com/office/drawing/2014/main" val="54782936"/>
                    </a:ext>
                  </a:extLst>
                </a:gridCol>
                <a:gridCol w="295492">
                  <a:extLst>
                    <a:ext uri="{9D8B030D-6E8A-4147-A177-3AD203B41FA5}">
                      <a16:colId xmlns:a16="http://schemas.microsoft.com/office/drawing/2014/main" val="154020430"/>
                    </a:ext>
                  </a:extLst>
                </a:gridCol>
                <a:gridCol w="295492">
                  <a:extLst>
                    <a:ext uri="{9D8B030D-6E8A-4147-A177-3AD203B41FA5}">
                      <a16:colId xmlns:a16="http://schemas.microsoft.com/office/drawing/2014/main" val="3928813835"/>
                    </a:ext>
                  </a:extLst>
                </a:gridCol>
                <a:gridCol w="295492">
                  <a:extLst>
                    <a:ext uri="{9D8B030D-6E8A-4147-A177-3AD203B41FA5}">
                      <a16:colId xmlns:a16="http://schemas.microsoft.com/office/drawing/2014/main" val="4210253042"/>
                    </a:ext>
                  </a:extLst>
                </a:gridCol>
                <a:gridCol w="295492">
                  <a:extLst>
                    <a:ext uri="{9D8B030D-6E8A-4147-A177-3AD203B41FA5}">
                      <a16:colId xmlns:a16="http://schemas.microsoft.com/office/drawing/2014/main" val="895787419"/>
                    </a:ext>
                  </a:extLst>
                </a:gridCol>
                <a:gridCol w="295492">
                  <a:extLst>
                    <a:ext uri="{9D8B030D-6E8A-4147-A177-3AD203B41FA5}">
                      <a16:colId xmlns:a16="http://schemas.microsoft.com/office/drawing/2014/main" val="3828388578"/>
                    </a:ext>
                  </a:extLst>
                </a:gridCol>
                <a:gridCol w="295492">
                  <a:extLst>
                    <a:ext uri="{9D8B030D-6E8A-4147-A177-3AD203B41FA5}">
                      <a16:colId xmlns:a16="http://schemas.microsoft.com/office/drawing/2014/main" val="742550205"/>
                    </a:ext>
                  </a:extLst>
                </a:gridCol>
                <a:gridCol w="295492">
                  <a:extLst>
                    <a:ext uri="{9D8B030D-6E8A-4147-A177-3AD203B41FA5}">
                      <a16:colId xmlns:a16="http://schemas.microsoft.com/office/drawing/2014/main" val="1408879461"/>
                    </a:ext>
                  </a:extLst>
                </a:gridCol>
              </a:tblGrid>
              <a:tr h="251292">
                <a:tc>
                  <a:txBody>
                    <a:bodyPr/>
                    <a:lstStyle/>
                    <a:p>
                      <a:r>
                        <a:rPr lang="en-US" sz="800" b="1" i="0" dirty="0">
                          <a:solidFill>
                            <a:schemeClr val="bg1"/>
                          </a:solidFill>
                          <a:latin typeface="+mj-lt"/>
                        </a:rPr>
                        <a:t>Sales </a:t>
                      </a:r>
                      <a:r>
                        <a:rPr lang="en-US" sz="800" b="1" i="0">
                          <a:solidFill>
                            <a:schemeClr val="bg1"/>
                          </a:solidFill>
                          <a:latin typeface="+mj-lt"/>
                        </a:rPr>
                        <a:t>Vs. 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rPr dirty="0"/>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rPr dirty="0"/>
                        <a:t>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helf </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Price</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Unit</a:t>
            </a:r>
          </a:p>
          <a:p>
            <a:pPr marL="0" marR="0" lvl="0" indent="0" defTabSz="685749"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Nexa Bold" panose="00000800000000000000" pitchFamily="2" charset="0"/>
              </a:rPr>
              <a:t>(</a:t>
            </a:r>
            <a:r>
              <a:rPr lang="en-US" sz="800" dirty="0">
                <a:solidFill>
                  <a:schemeClr val="tx1"/>
                </a:solidFill>
                <a:highlight>
                  <a:srgbClr val="FFFF00"/>
                </a:highlight>
                <a:latin typeface="Nexa Bold" panose="00000800000000000000" pitchFamily="2" charset="0"/>
              </a:rPr>
              <a:t>€</a:t>
            </a:r>
            <a:r>
              <a:rPr lang="en-US" sz="800" dirty="0">
                <a:solidFill>
                  <a:schemeClr val="tx1"/>
                </a:solidFill>
                <a:latin typeface="Nexa Bold" panose="00000800000000000000" pitchFamily="2" charset="0"/>
              </a:rPr>
              <a:t>)</a:t>
            </a:r>
            <a:endPar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endParaRP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Value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ales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M)</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8/11/2025</a:t>
            </a:fld>
            <a:endParaRPr lang="en-US" sz="500"/>
          </a:p>
        </p:txBody>
      </p:sp>
    </p:spTree>
    <p:extLst>
      <p:ext uri="{BB962C8B-B14F-4D97-AF65-F5344CB8AC3E}">
        <p14:creationId xmlns:p14="http://schemas.microsoft.com/office/powerpoint/2010/main" val="14651890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r>
              <a:rPr lang="en-US" dirty="0"/>
              <a:t>Inter-size Discount  | </a:t>
            </a:r>
            <a:r>
              <a:rPr lang="en-US" dirty="0">
                <a:highlight>
                  <a:srgbClr val="FFFF00"/>
                </a:highlight>
              </a:rPr>
              <a:t>Variant</a:t>
            </a:r>
            <a:r>
              <a:rPr lang="en-US" dirty="0"/>
              <a:t> | </a:t>
            </a:r>
            <a:r>
              <a:rPr lang="en-US" dirty="0">
                <a:highlight>
                  <a:srgbClr val="FFFF00"/>
                </a:highlight>
              </a:rPr>
              <a:t>National</a:t>
            </a:r>
            <a:r>
              <a:rPr lang="en-US" dirty="0"/>
              <a:t> | P12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2800073758"/>
              </p:ext>
            </p:extLst>
          </p:nvPr>
        </p:nvGraphicFramePr>
        <p:xfrm>
          <a:off x="555229" y="4265104"/>
          <a:ext cx="7441138"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95492">
                  <a:extLst>
                    <a:ext uri="{9D8B030D-6E8A-4147-A177-3AD203B41FA5}">
                      <a16:colId xmlns:a16="http://schemas.microsoft.com/office/drawing/2014/main" val="2253286919"/>
                    </a:ext>
                  </a:extLst>
                </a:gridCol>
                <a:gridCol w="295492">
                  <a:extLst>
                    <a:ext uri="{9D8B030D-6E8A-4147-A177-3AD203B41FA5}">
                      <a16:colId xmlns:a16="http://schemas.microsoft.com/office/drawing/2014/main" val="2739285047"/>
                    </a:ext>
                  </a:extLst>
                </a:gridCol>
                <a:gridCol w="295492">
                  <a:extLst>
                    <a:ext uri="{9D8B030D-6E8A-4147-A177-3AD203B41FA5}">
                      <a16:colId xmlns:a16="http://schemas.microsoft.com/office/drawing/2014/main" val="686050863"/>
                    </a:ext>
                  </a:extLst>
                </a:gridCol>
                <a:gridCol w="295492">
                  <a:extLst>
                    <a:ext uri="{9D8B030D-6E8A-4147-A177-3AD203B41FA5}">
                      <a16:colId xmlns:a16="http://schemas.microsoft.com/office/drawing/2014/main" val="3765127706"/>
                    </a:ext>
                  </a:extLst>
                </a:gridCol>
                <a:gridCol w="295492">
                  <a:extLst>
                    <a:ext uri="{9D8B030D-6E8A-4147-A177-3AD203B41FA5}">
                      <a16:colId xmlns:a16="http://schemas.microsoft.com/office/drawing/2014/main" val="273303937"/>
                    </a:ext>
                  </a:extLst>
                </a:gridCol>
                <a:gridCol w="295492">
                  <a:extLst>
                    <a:ext uri="{9D8B030D-6E8A-4147-A177-3AD203B41FA5}">
                      <a16:colId xmlns:a16="http://schemas.microsoft.com/office/drawing/2014/main" val="1190134658"/>
                    </a:ext>
                  </a:extLst>
                </a:gridCol>
                <a:gridCol w="295492">
                  <a:extLst>
                    <a:ext uri="{9D8B030D-6E8A-4147-A177-3AD203B41FA5}">
                      <a16:colId xmlns:a16="http://schemas.microsoft.com/office/drawing/2014/main" val="1152288185"/>
                    </a:ext>
                  </a:extLst>
                </a:gridCol>
                <a:gridCol w="295492">
                  <a:extLst>
                    <a:ext uri="{9D8B030D-6E8A-4147-A177-3AD203B41FA5}">
                      <a16:colId xmlns:a16="http://schemas.microsoft.com/office/drawing/2014/main" val="1888319813"/>
                    </a:ext>
                  </a:extLst>
                </a:gridCol>
                <a:gridCol w="295492">
                  <a:extLst>
                    <a:ext uri="{9D8B030D-6E8A-4147-A177-3AD203B41FA5}">
                      <a16:colId xmlns:a16="http://schemas.microsoft.com/office/drawing/2014/main" val="3471064540"/>
                    </a:ext>
                  </a:extLst>
                </a:gridCol>
                <a:gridCol w="295492">
                  <a:extLst>
                    <a:ext uri="{9D8B030D-6E8A-4147-A177-3AD203B41FA5}">
                      <a16:colId xmlns:a16="http://schemas.microsoft.com/office/drawing/2014/main" val="670551899"/>
                    </a:ext>
                  </a:extLst>
                </a:gridCol>
                <a:gridCol w="295492">
                  <a:extLst>
                    <a:ext uri="{9D8B030D-6E8A-4147-A177-3AD203B41FA5}">
                      <a16:colId xmlns:a16="http://schemas.microsoft.com/office/drawing/2014/main" val="1100152168"/>
                    </a:ext>
                  </a:extLst>
                </a:gridCol>
                <a:gridCol w="295492">
                  <a:extLst>
                    <a:ext uri="{9D8B030D-6E8A-4147-A177-3AD203B41FA5}">
                      <a16:colId xmlns:a16="http://schemas.microsoft.com/office/drawing/2014/main" val="2165801595"/>
                    </a:ext>
                  </a:extLst>
                </a:gridCol>
                <a:gridCol w="295492">
                  <a:extLst>
                    <a:ext uri="{9D8B030D-6E8A-4147-A177-3AD203B41FA5}">
                      <a16:colId xmlns:a16="http://schemas.microsoft.com/office/drawing/2014/main" val="3981167565"/>
                    </a:ext>
                  </a:extLst>
                </a:gridCol>
                <a:gridCol w="295492">
                  <a:extLst>
                    <a:ext uri="{9D8B030D-6E8A-4147-A177-3AD203B41FA5}">
                      <a16:colId xmlns:a16="http://schemas.microsoft.com/office/drawing/2014/main" val="2740792325"/>
                    </a:ext>
                  </a:extLst>
                </a:gridCol>
                <a:gridCol w="295492">
                  <a:extLst>
                    <a:ext uri="{9D8B030D-6E8A-4147-A177-3AD203B41FA5}">
                      <a16:colId xmlns:a16="http://schemas.microsoft.com/office/drawing/2014/main" val="54782936"/>
                    </a:ext>
                  </a:extLst>
                </a:gridCol>
                <a:gridCol w="295492">
                  <a:extLst>
                    <a:ext uri="{9D8B030D-6E8A-4147-A177-3AD203B41FA5}">
                      <a16:colId xmlns:a16="http://schemas.microsoft.com/office/drawing/2014/main" val="154020430"/>
                    </a:ext>
                  </a:extLst>
                </a:gridCol>
                <a:gridCol w="295492">
                  <a:extLst>
                    <a:ext uri="{9D8B030D-6E8A-4147-A177-3AD203B41FA5}">
                      <a16:colId xmlns:a16="http://schemas.microsoft.com/office/drawing/2014/main" val="3928813835"/>
                    </a:ext>
                  </a:extLst>
                </a:gridCol>
                <a:gridCol w="295492">
                  <a:extLst>
                    <a:ext uri="{9D8B030D-6E8A-4147-A177-3AD203B41FA5}">
                      <a16:colId xmlns:a16="http://schemas.microsoft.com/office/drawing/2014/main" val="4210253042"/>
                    </a:ext>
                  </a:extLst>
                </a:gridCol>
                <a:gridCol w="295492">
                  <a:extLst>
                    <a:ext uri="{9D8B030D-6E8A-4147-A177-3AD203B41FA5}">
                      <a16:colId xmlns:a16="http://schemas.microsoft.com/office/drawing/2014/main" val="895787419"/>
                    </a:ext>
                  </a:extLst>
                </a:gridCol>
                <a:gridCol w="295492">
                  <a:extLst>
                    <a:ext uri="{9D8B030D-6E8A-4147-A177-3AD203B41FA5}">
                      <a16:colId xmlns:a16="http://schemas.microsoft.com/office/drawing/2014/main" val="3828388578"/>
                    </a:ext>
                  </a:extLst>
                </a:gridCol>
                <a:gridCol w="295492">
                  <a:extLst>
                    <a:ext uri="{9D8B030D-6E8A-4147-A177-3AD203B41FA5}">
                      <a16:colId xmlns:a16="http://schemas.microsoft.com/office/drawing/2014/main" val="742550205"/>
                    </a:ext>
                  </a:extLst>
                </a:gridCol>
                <a:gridCol w="295492">
                  <a:extLst>
                    <a:ext uri="{9D8B030D-6E8A-4147-A177-3AD203B41FA5}">
                      <a16:colId xmlns:a16="http://schemas.microsoft.com/office/drawing/2014/main" val="1408879461"/>
                    </a:ext>
                  </a:extLst>
                </a:gridCol>
              </a:tblGrid>
              <a:tr h="251292">
                <a:tc>
                  <a:txBody>
                    <a:bodyPr/>
                    <a:lstStyle/>
                    <a:p>
                      <a:r>
                        <a:rPr lang="en-US" sz="800" b="1" i="0" dirty="0">
                          <a:solidFill>
                            <a:schemeClr val="bg1"/>
                          </a:solidFill>
                          <a:latin typeface="+mj-lt"/>
                        </a:rPr>
                        <a:t>Sales </a:t>
                      </a:r>
                      <a:r>
                        <a:rPr lang="en-US" sz="800" b="1" i="0">
                          <a:solidFill>
                            <a:schemeClr val="bg1"/>
                          </a:solidFill>
                          <a:latin typeface="+mj-lt"/>
                        </a:rPr>
                        <a:t>Vs. 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rPr dirty="0"/>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rPr dirty="0"/>
                        <a:t>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helf </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Price</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Unit</a:t>
            </a:r>
          </a:p>
          <a:p>
            <a:pPr marL="0" marR="0" lvl="0" indent="0" defTabSz="685749"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Nexa Bold" panose="00000800000000000000" pitchFamily="2" charset="0"/>
              </a:rPr>
              <a:t>(</a:t>
            </a:r>
            <a:r>
              <a:rPr lang="en-US" sz="800" dirty="0">
                <a:solidFill>
                  <a:schemeClr val="tx1"/>
                </a:solidFill>
                <a:highlight>
                  <a:srgbClr val="FFFF00"/>
                </a:highlight>
                <a:latin typeface="Nexa Bold" panose="00000800000000000000" pitchFamily="2" charset="0"/>
              </a:rPr>
              <a:t>€</a:t>
            </a:r>
            <a:r>
              <a:rPr lang="en-US" sz="800" dirty="0">
                <a:solidFill>
                  <a:schemeClr val="tx1"/>
                </a:solidFill>
                <a:latin typeface="Nexa Bold" panose="00000800000000000000" pitchFamily="2" charset="0"/>
              </a:rPr>
              <a:t>)</a:t>
            </a:r>
            <a:endPar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endParaRP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Value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ales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M)</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8/11/2025</a:t>
            </a:fld>
            <a:endParaRPr lang="en-US" sz="500"/>
          </a:p>
        </p:txBody>
      </p:sp>
    </p:spTree>
    <p:extLst>
      <p:ext uri="{BB962C8B-B14F-4D97-AF65-F5344CB8AC3E}">
        <p14:creationId xmlns:p14="http://schemas.microsoft.com/office/powerpoint/2010/main" val="213519069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r>
              <a:rPr lang="en-US" dirty="0"/>
              <a:t>Inter-size Discount  | </a:t>
            </a:r>
            <a:r>
              <a:rPr lang="en-US" dirty="0">
                <a:highlight>
                  <a:srgbClr val="FFFF00"/>
                </a:highlight>
              </a:rPr>
              <a:t>Variant</a:t>
            </a:r>
            <a:r>
              <a:rPr lang="en-US" dirty="0"/>
              <a:t> | </a:t>
            </a:r>
            <a:r>
              <a:rPr lang="en-US" dirty="0">
                <a:highlight>
                  <a:srgbClr val="FFFF00"/>
                </a:highlight>
              </a:rPr>
              <a:t>National</a:t>
            </a:r>
            <a:r>
              <a:rPr lang="en-US" dirty="0"/>
              <a:t> | P12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2800073758"/>
              </p:ext>
            </p:extLst>
          </p:nvPr>
        </p:nvGraphicFramePr>
        <p:xfrm>
          <a:off x="555229" y="4265104"/>
          <a:ext cx="7441138"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95492">
                  <a:extLst>
                    <a:ext uri="{9D8B030D-6E8A-4147-A177-3AD203B41FA5}">
                      <a16:colId xmlns:a16="http://schemas.microsoft.com/office/drawing/2014/main" val="2253286919"/>
                    </a:ext>
                  </a:extLst>
                </a:gridCol>
                <a:gridCol w="295492">
                  <a:extLst>
                    <a:ext uri="{9D8B030D-6E8A-4147-A177-3AD203B41FA5}">
                      <a16:colId xmlns:a16="http://schemas.microsoft.com/office/drawing/2014/main" val="2739285047"/>
                    </a:ext>
                  </a:extLst>
                </a:gridCol>
                <a:gridCol w="295492">
                  <a:extLst>
                    <a:ext uri="{9D8B030D-6E8A-4147-A177-3AD203B41FA5}">
                      <a16:colId xmlns:a16="http://schemas.microsoft.com/office/drawing/2014/main" val="686050863"/>
                    </a:ext>
                  </a:extLst>
                </a:gridCol>
                <a:gridCol w="295492">
                  <a:extLst>
                    <a:ext uri="{9D8B030D-6E8A-4147-A177-3AD203B41FA5}">
                      <a16:colId xmlns:a16="http://schemas.microsoft.com/office/drawing/2014/main" val="3765127706"/>
                    </a:ext>
                  </a:extLst>
                </a:gridCol>
                <a:gridCol w="295492">
                  <a:extLst>
                    <a:ext uri="{9D8B030D-6E8A-4147-A177-3AD203B41FA5}">
                      <a16:colId xmlns:a16="http://schemas.microsoft.com/office/drawing/2014/main" val="273303937"/>
                    </a:ext>
                  </a:extLst>
                </a:gridCol>
                <a:gridCol w="295492">
                  <a:extLst>
                    <a:ext uri="{9D8B030D-6E8A-4147-A177-3AD203B41FA5}">
                      <a16:colId xmlns:a16="http://schemas.microsoft.com/office/drawing/2014/main" val="1190134658"/>
                    </a:ext>
                  </a:extLst>
                </a:gridCol>
                <a:gridCol w="295492">
                  <a:extLst>
                    <a:ext uri="{9D8B030D-6E8A-4147-A177-3AD203B41FA5}">
                      <a16:colId xmlns:a16="http://schemas.microsoft.com/office/drawing/2014/main" val="1152288185"/>
                    </a:ext>
                  </a:extLst>
                </a:gridCol>
                <a:gridCol w="295492">
                  <a:extLst>
                    <a:ext uri="{9D8B030D-6E8A-4147-A177-3AD203B41FA5}">
                      <a16:colId xmlns:a16="http://schemas.microsoft.com/office/drawing/2014/main" val="1888319813"/>
                    </a:ext>
                  </a:extLst>
                </a:gridCol>
                <a:gridCol w="295492">
                  <a:extLst>
                    <a:ext uri="{9D8B030D-6E8A-4147-A177-3AD203B41FA5}">
                      <a16:colId xmlns:a16="http://schemas.microsoft.com/office/drawing/2014/main" val="3471064540"/>
                    </a:ext>
                  </a:extLst>
                </a:gridCol>
                <a:gridCol w="295492">
                  <a:extLst>
                    <a:ext uri="{9D8B030D-6E8A-4147-A177-3AD203B41FA5}">
                      <a16:colId xmlns:a16="http://schemas.microsoft.com/office/drawing/2014/main" val="670551899"/>
                    </a:ext>
                  </a:extLst>
                </a:gridCol>
                <a:gridCol w="295492">
                  <a:extLst>
                    <a:ext uri="{9D8B030D-6E8A-4147-A177-3AD203B41FA5}">
                      <a16:colId xmlns:a16="http://schemas.microsoft.com/office/drawing/2014/main" val="1100152168"/>
                    </a:ext>
                  </a:extLst>
                </a:gridCol>
                <a:gridCol w="295492">
                  <a:extLst>
                    <a:ext uri="{9D8B030D-6E8A-4147-A177-3AD203B41FA5}">
                      <a16:colId xmlns:a16="http://schemas.microsoft.com/office/drawing/2014/main" val="2165801595"/>
                    </a:ext>
                  </a:extLst>
                </a:gridCol>
                <a:gridCol w="295492">
                  <a:extLst>
                    <a:ext uri="{9D8B030D-6E8A-4147-A177-3AD203B41FA5}">
                      <a16:colId xmlns:a16="http://schemas.microsoft.com/office/drawing/2014/main" val="3981167565"/>
                    </a:ext>
                  </a:extLst>
                </a:gridCol>
                <a:gridCol w="295492">
                  <a:extLst>
                    <a:ext uri="{9D8B030D-6E8A-4147-A177-3AD203B41FA5}">
                      <a16:colId xmlns:a16="http://schemas.microsoft.com/office/drawing/2014/main" val="2740792325"/>
                    </a:ext>
                  </a:extLst>
                </a:gridCol>
                <a:gridCol w="295492">
                  <a:extLst>
                    <a:ext uri="{9D8B030D-6E8A-4147-A177-3AD203B41FA5}">
                      <a16:colId xmlns:a16="http://schemas.microsoft.com/office/drawing/2014/main" val="54782936"/>
                    </a:ext>
                  </a:extLst>
                </a:gridCol>
                <a:gridCol w="295492">
                  <a:extLst>
                    <a:ext uri="{9D8B030D-6E8A-4147-A177-3AD203B41FA5}">
                      <a16:colId xmlns:a16="http://schemas.microsoft.com/office/drawing/2014/main" val="154020430"/>
                    </a:ext>
                  </a:extLst>
                </a:gridCol>
                <a:gridCol w="295492">
                  <a:extLst>
                    <a:ext uri="{9D8B030D-6E8A-4147-A177-3AD203B41FA5}">
                      <a16:colId xmlns:a16="http://schemas.microsoft.com/office/drawing/2014/main" val="3928813835"/>
                    </a:ext>
                  </a:extLst>
                </a:gridCol>
                <a:gridCol w="295492">
                  <a:extLst>
                    <a:ext uri="{9D8B030D-6E8A-4147-A177-3AD203B41FA5}">
                      <a16:colId xmlns:a16="http://schemas.microsoft.com/office/drawing/2014/main" val="4210253042"/>
                    </a:ext>
                  </a:extLst>
                </a:gridCol>
                <a:gridCol w="295492">
                  <a:extLst>
                    <a:ext uri="{9D8B030D-6E8A-4147-A177-3AD203B41FA5}">
                      <a16:colId xmlns:a16="http://schemas.microsoft.com/office/drawing/2014/main" val="895787419"/>
                    </a:ext>
                  </a:extLst>
                </a:gridCol>
                <a:gridCol w="295492">
                  <a:extLst>
                    <a:ext uri="{9D8B030D-6E8A-4147-A177-3AD203B41FA5}">
                      <a16:colId xmlns:a16="http://schemas.microsoft.com/office/drawing/2014/main" val="3828388578"/>
                    </a:ext>
                  </a:extLst>
                </a:gridCol>
                <a:gridCol w="295492">
                  <a:extLst>
                    <a:ext uri="{9D8B030D-6E8A-4147-A177-3AD203B41FA5}">
                      <a16:colId xmlns:a16="http://schemas.microsoft.com/office/drawing/2014/main" val="742550205"/>
                    </a:ext>
                  </a:extLst>
                </a:gridCol>
                <a:gridCol w="295492">
                  <a:extLst>
                    <a:ext uri="{9D8B030D-6E8A-4147-A177-3AD203B41FA5}">
                      <a16:colId xmlns:a16="http://schemas.microsoft.com/office/drawing/2014/main" val="1408879461"/>
                    </a:ext>
                  </a:extLst>
                </a:gridCol>
              </a:tblGrid>
              <a:tr h="251292">
                <a:tc>
                  <a:txBody>
                    <a:bodyPr/>
                    <a:lstStyle/>
                    <a:p>
                      <a:r>
                        <a:rPr lang="en-US" sz="800" b="1" i="0" dirty="0">
                          <a:solidFill>
                            <a:schemeClr val="bg1"/>
                          </a:solidFill>
                          <a:latin typeface="+mj-lt"/>
                        </a:rPr>
                        <a:t>Sales </a:t>
                      </a:r>
                      <a:r>
                        <a:rPr lang="en-US" sz="800" b="1" i="0">
                          <a:solidFill>
                            <a:schemeClr val="bg1"/>
                          </a:solidFill>
                          <a:latin typeface="+mj-lt"/>
                        </a:rPr>
                        <a:t>Vs. 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rPr dirty="0"/>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rPr dirty="0"/>
                        <a:t>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helf </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Price</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Unit</a:t>
            </a:r>
          </a:p>
          <a:p>
            <a:pPr marL="0" marR="0" lvl="0" indent="0" defTabSz="685749"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Nexa Bold" panose="00000800000000000000" pitchFamily="2" charset="0"/>
              </a:rPr>
              <a:t>(</a:t>
            </a:r>
            <a:r>
              <a:rPr lang="en-US" sz="800" dirty="0">
                <a:solidFill>
                  <a:schemeClr val="tx1"/>
                </a:solidFill>
                <a:highlight>
                  <a:srgbClr val="FFFF00"/>
                </a:highlight>
                <a:latin typeface="Nexa Bold" panose="00000800000000000000" pitchFamily="2" charset="0"/>
              </a:rPr>
              <a:t>€</a:t>
            </a:r>
            <a:r>
              <a:rPr lang="en-US" sz="800" dirty="0">
                <a:solidFill>
                  <a:schemeClr val="tx1"/>
                </a:solidFill>
                <a:latin typeface="Nexa Bold" panose="00000800000000000000" pitchFamily="2" charset="0"/>
              </a:rPr>
              <a:t>)</a:t>
            </a:r>
            <a:endPar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endParaRP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Value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ales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M)</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8/11/2025</a:t>
            </a:fld>
            <a:endParaRPr lang="en-US" sz="500"/>
          </a:p>
        </p:txBody>
      </p:sp>
    </p:spTree>
    <p:extLst>
      <p:ext uri="{BB962C8B-B14F-4D97-AF65-F5344CB8AC3E}">
        <p14:creationId xmlns:p14="http://schemas.microsoft.com/office/powerpoint/2010/main" val="398144350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r>
              <a:rPr lang="en-US" dirty="0"/>
              <a:t>Inter-size Discount  | </a:t>
            </a:r>
            <a:r>
              <a:rPr lang="en-US" dirty="0">
                <a:highlight>
                  <a:srgbClr val="FFFF00"/>
                </a:highlight>
              </a:rPr>
              <a:t>Variant</a:t>
            </a:r>
            <a:r>
              <a:rPr lang="en-US" dirty="0"/>
              <a:t> | </a:t>
            </a:r>
            <a:r>
              <a:rPr lang="en-US" dirty="0">
                <a:highlight>
                  <a:srgbClr val="FFFF00"/>
                </a:highlight>
              </a:rPr>
              <a:t>National</a:t>
            </a:r>
            <a:r>
              <a:rPr lang="en-US" dirty="0"/>
              <a:t> | P12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2800073758"/>
              </p:ext>
            </p:extLst>
          </p:nvPr>
        </p:nvGraphicFramePr>
        <p:xfrm>
          <a:off x="555229" y="4265104"/>
          <a:ext cx="7441138"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95492">
                  <a:extLst>
                    <a:ext uri="{9D8B030D-6E8A-4147-A177-3AD203B41FA5}">
                      <a16:colId xmlns:a16="http://schemas.microsoft.com/office/drawing/2014/main" val="2253286919"/>
                    </a:ext>
                  </a:extLst>
                </a:gridCol>
                <a:gridCol w="295492">
                  <a:extLst>
                    <a:ext uri="{9D8B030D-6E8A-4147-A177-3AD203B41FA5}">
                      <a16:colId xmlns:a16="http://schemas.microsoft.com/office/drawing/2014/main" val="2739285047"/>
                    </a:ext>
                  </a:extLst>
                </a:gridCol>
                <a:gridCol w="295492">
                  <a:extLst>
                    <a:ext uri="{9D8B030D-6E8A-4147-A177-3AD203B41FA5}">
                      <a16:colId xmlns:a16="http://schemas.microsoft.com/office/drawing/2014/main" val="686050863"/>
                    </a:ext>
                  </a:extLst>
                </a:gridCol>
                <a:gridCol w="295492">
                  <a:extLst>
                    <a:ext uri="{9D8B030D-6E8A-4147-A177-3AD203B41FA5}">
                      <a16:colId xmlns:a16="http://schemas.microsoft.com/office/drawing/2014/main" val="3765127706"/>
                    </a:ext>
                  </a:extLst>
                </a:gridCol>
                <a:gridCol w="295492">
                  <a:extLst>
                    <a:ext uri="{9D8B030D-6E8A-4147-A177-3AD203B41FA5}">
                      <a16:colId xmlns:a16="http://schemas.microsoft.com/office/drawing/2014/main" val="273303937"/>
                    </a:ext>
                  </a:extLst>
                </a:gridCol>
                <a:gridCol w="295492">
                  <a:extLst>
                    <a:ext uri="{9D8B030D-6E8A-4147-A177-3AD203B41FA5}">
                      <a16:colId xmlns:a16="http://schemas.microsoft.com/office/drawing/2014/main" val="1190134658"/>
                    </a:ext>
                  </a:extLst>
                </a:gridCol>
                <a:gridCol w="295492">
                  <a:extLst>
                    <a:ext uri="{9D8B030D-6E8A-4147-A177-3AD203B41FA5}">
                      <a16:colId xmlns:a16="http://schemas.microsoft.com/office/drawing/2014/main" val="1152288185"/>
                    </a:ext>
                  </a:extLst>
                </a:gridCol>
                <a:gridCol w="295492">
                  <a:extLst>
                    <a:ext uri="{9D8B030D-6E8A-4147-A177-3AD203B41FA5}">
                      <a16:colId xmlns:a16="http://schemas.microsoft.com/office/drawing/2014/main" val="1888319813"/>
                    </a:ext>
                  </a:extLst>
                </a:gridCol>
                <a:gridCol w="295492">
                  <a:extLst>
                    <a:ext uri="{9D8B030D-6E8A-4147-A177-3AD203B41FA5}">
                      <a16:colId xmlns:a16="http://schemas.microsoft.com/office/drawing/2014/main" val="3471064540"/>
                    </a:ext>
                  </a:extLst>
                </a:gridCol>
                <a:gridCol w="295492">
                  <a:extLst>
                    <a:ext uri="{9D8B030D-6E8A-4147-A177-3AD203B41FA5}">
                      <a16:colId xmlns:a16="http://schemas.microsoft.com/office/drawing/2014/main" val="670551899"/>
                    </a:ext>
                  </a:extLst>
                </a:gridCol>
                <a:gridCol w="295492">
                  <a:extLst>
                    <a:ext uri="{9D8B030D-6E8A-4147-A177-3AD203B41FA5}">
                      <a16:colId xmlns:a16="http://schemas.microsoft.com/office/drawing/2014/main" val="1100152168"/>
                    </a:ext>
                  </a:extLst>
                </a:gridCol>
                <a:gridCol w="295492">
                  <a:extLst>
                    <a:ext uri="{9D8B030D-6E8A-4147-A177-3AD203B41FA5}">
                      <a16:colId xmlns:a16="http://schemas.microsoft.com/office/drawing/2014/main" val="2165801595"/>
                    </a:ext>
                  </a:extLst>
                </a:gridCol>
                <a:gridCol w="295492">
                  <a:extLst>
                    <a:ext uri="{9D8B030D-6E8A-4147-A177-3AD203B41FA5}">
                      <a16:colId xmlns:a16="http://schemas.microsoft.com/office/drawing/2014/main" val="3981167565"/>
                    </a:ext>
                  </a:extLst>
                </a:gridCol>
                <a:gridCol w="295492">
                  <a:extLst>
                    <a:ext uri="{9D8B030D-6E8A-4147-A177-3AD203B41FA5}">
                      <a16:colId xmlns:a16="http://schemas.microsoft.com/office/drawing/2014/main" val="2740792325"/>
                    </a:ext>
                  </a:extLst>
                </a:gridCol>
                <a:gridCol w="295492">
                  <a:extLst>
                    <a:ext uri="{9D8B030D-6E8A-4147-A177-3AD203B41FA5}">
                      <a16:colId xmlns:a16="http://schemas.microsoft.com/office/drawing/2014/main" val="54782936"/>
                    </a:ext>
                  </a:extLst>
                </a:gridCol>
                <a:gridCol w="295492">
                  <a:extLst>
                    <a:ext uri="{9D8B030D-6E8A-4147-A177-3AD203B41FA5}">
                      <a16:colId xmlns:a16="http://schemas.microsoft.com/office/drawing/2014/main" val="154020430"/>
                    </a:ext>
                  </a:extLst>
                </a:gridCol>
                <a:gridCol w="295492">
                  <a:extLst>
                    <a:ext uri="{9D8B030D-6E8A-4147-A177-3AD203B41FA5}">
                      <a16:colId xmlns:a16="http://schemas.microsoft.com/office/drawing/2014/main" val="3928813835"/>
                    </a:ext>
                  </a:extLst>
                </a:gridCol>
                <a:gridCol w="295492">
                  <a:extLst>
                    <a:ext uri="{9D8B030D-6E8A-4147-A177-3AD203B41FA5}">
                      <a16:colId xmlns:a16="http://schemas.microsoft.com/office/drawing/2014/main" val="4210253042"/>
                    </a:ext>
                  </a:extLst>
                </a:gridCol>
                <a:gridCol w="295492">
                  <a:extLst>
                    <a:ext uri="{9D8B030D-6E8A-4147-A177-3AD203B41FA5}">
                      <a16:colId xmlns:a16="http://schemas.microsoft.com/office/drawing/2014/main" val="895787419"/>
                    </a:ext>
                  </a:extLst>
                </a:gridCol>
                <a:gridCol w="295492">
                  <a:extLst>
                    <a:ext uri="{9D8B030D-6E8A-4147-A177-3AD203B41FA5}">
                      <a16:colId xmlns:a16="http://schemas.microsoft.com/office/drawing/2014/main" val="3828388578"/>
                    </a:ext>
                  </a:extLst>
                </a:gridCol>
                <a:gridCol w="295492">
                  <a:extLst>
                    <a:ext uri="{9D8B030D-6E8A-4147-A177-3AD203B41FA5}">
                      <a16:colId xmlns:a16="http://schemas.microsoft.com/office/drawing/2014/main" val="742550205"/>
                    </a:ext>
                  </a:extLst>
                </a:gridCol>
                <a:gridCol w="295492">
                  <a:extLst>
                    <a:ext uri="{9D8B030D-6E8A-4147-A177-3AD203B41FA5}">
                      <a16:colId xmlns:a16="http://schemas.microsoft.com/office/drawing/2014/main" val="1408879461"/>
                    </a:ext>
                  </a:extLst>
                </a:gridCol>
              </a:tblGrid>
              <a:tr h="251292">
                <a:tc>
                  <a:txBody>
                    <a:bodyPr/>
                    <a:lstStyle/>
                    <a:p>
                      <a:r>
                        <a:rPr lang="en-US" sz="800" b="1" i="0" dirty="0">
                          <a:solidFill>
                            <a:schemeClr val="bg1"/>
                          </a:solidFill>
                          <a:latin typeface="+mj-lt"/>
                        </a:rPr>
                        <a:t>Sales </a:t>
                      </a:r>
                      <a:r>
                        <a:rPr lang="en-US" sz="800" b="1" i="0">
                          <a:solidFill>
                            <a:schemeClr val="bg1"/>
                          </a:solidFill>
                          <a:latin typeface="+mj-lt"/>
                        </a:rPr>
                        <a:t>Vs. 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rPr dirty="0"/>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rPr dirty="0"/>
                        <a:t>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helf </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Price</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Unit</a:t>
            </a:r>
          </a:p>
          <a:p>
            <a:pPr marL="0" marR="0" lvl="0" indent="0" defTabSz="685749"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Nexa Bold" panose="00000800000000000000" pitchFamily="2" charset="0"/>
              </a:rPr>
              <a:t>(</a:t>
            </a:r>
            <a:r>
              <a:rPr lang="en-US" sz="800" dirty="0">
                <a:solidFill>
                  <a:schemeClr val="tx1"/>
                </a:solidFill>
                <a:highlight>
                  <a:srgbClr val="FFFF00"/>
                </a:highlight>
                <a:latin typeface="Nexa Bold" panose="00000800000000000000" pitchFamily="2" charset="0"/>
              </a:rPr>
              <a:t>€</a:t>
            </a:r>
            <a:r>
              <a:rPr lang="en-US" sz="800" dirty="0">
                <a:solidFill>
                  <a:schemeClr val="tx1"/>
                </a:solidFill>
                <a:latin typeface="Nexa Bold" panose="00000800000000000000" pitchFamily="2" charset="0"/>
              </a:rPr>
              <a:t>)</a:t>
            </a:r>
            <a:endPar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endParaRP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Value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ales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M)</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8/11/2025</a:t>
            </a:fld>
            <a:endParaRPr lang="en-US" sz="500"/>
          </a:p>
        </p:txBody>
      </p:sp>
    </p:spTree>
    <p:extLst>
      <p:ext uri="{BB962C8B-B14F-4D97-AF65-F5344CB8AC3E}">
        <p14:creationId xmlns:p14="http://schemas.microsoft.com/office/powerpoint/2010/main" val="107511384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r>
              <a:rPr lang="en-US" dirty="0"/>
              <a:t>Inter-size Discount  | </a:t>
            </a:r>
            <a:r>
              <a:rPr lang="en-US" dirty="0">
                <a:highlight>
                  <a:srgbClr val="FFFF00"/>
                </a:highlight>
              </a:rPr>
              <a:t>Variant</a:t>
            </a:r>
            <a:r>
              <a:rPr lang="en-US" dirty="0"/>
              <a:t> | </a:t>
            </a:r>
            <a:r>
              <a:rPr lang="en-US" dirty="0">
                <a:highlight>
                  <a:srgbClr val="FFFF00"/>
                </a:highlight>
              </a:rPr>
              <a:t>National</a:t>
            </a:r>
            <a:r>
              <a:rPr lang="en-US" dirty="0"/>
              <a:t> | P12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2800073758"/>
              </p:ext>
            </p:extLst>
          </p:nvPr>
        </p:nvGraphicFramePr>
        <p:xfrm>
          <a:off x="555229" y="4265104"/>
          <a:ext cx="7441138"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95492">
                  <a:extLst>
                    <a:ext uri="{9D8B030D-6E8A-4147-A177-3AD203B41FA5}">
                      <a16:colId xmlns:a16="http://schemas.microsoft.com/office/drawing/2014/main" val="2253286919"/>
                    </a:ext>
                  </a:extLst>
                </a:gridCol>
                <a:gridCol w="295492">
                  <a:extLst>
                    <a:ext uri="{9D8B030D-6E8A-4147-A177-3AD203B41FA5}">
                      <a16:colId xmlns:a16="http://schemas.microsoft.com/office/drawing/2014/main" val="2739285047"/>
                    </a:ext>
                  </a:extLst>
                </a:gridCol>
                <a:gridCol w="295492">
                  <a:extLst>
                    <a:ext uri="{9D8B030D-6E8A-4147-A177-3AD203B41FA5}">
                      <a16:colId xmlns:a16="http://schemas.microsoft.com/office/drawing/2014/main" val="686050863"/>
                    </a:ext>
                  </a:extLst>
                </a:gridCol>
                <a:gridCol w="295492">
                  <a:extLst>
                    <a:ext uri="{9D8B030D-6E8A-4147-A177-3AD203B41FA5}">
                      <a16:colId xmlns:a16="http://schemas.microsoft.com/office/drawing/2014/main" val="3765127706"/>
                    </a:ext>
                  </a:extLst>
                </a:gridCol>
                <a:gridCol w="295492">
                  <a:extLst>
                    <a:ext uri="{9D8B030D-6E8A-4147-A177-3AD203B41FA5}">
                      <a16:colId xmlns:a16="http://schemas.microsoft.com/office/drawing/2014/main" val="273303937"/>
                    </a:ext>
                  </a:extLst>
                </a:gridCol>
                <a:gridCol w="295492">
                  <a:extLst>
                    <a:ext uri="{9D8B030D-6E8A-4147-A177-3AD203B41FA5}">
                      <a16:colId xmlns:a16="http://schemas.microsoft.com/office/drawing/2014/main" val="1190134658"/>
                    </a:ext>
                  </a:extLst>
                </a:gridCol>
                <a:gridCol w="295492">
                  <a:extLst>
                    <a:ext uri="{9D8B030D-6E8A-4147-A177-3AD203B41FA5}">
                      <a16:colId xmlns:a16="http://schemas.microsoft.com/office/drawing/2014/main" val="1152288185"/>
                    </a:ext>
                  </a:extLst>
                </a:gridCol>
                <a:gridCol w="295492">
                  <a:extLst>
                    <a:ext uri="{9D8B030D-6E8A-4147-A177-3AD203B41FA5}">
                      <a16:colId xmlns:a16="http://schemas.microsoft.com/office/drawing/2014/main" val="1888319813"/>
                    </a:ext>
                  </a:extLst>
                </a:gridCol>
                <a:gridCol w="295492">
                  <a:extLst>
                    <a:ext uri="{9D8B030D-6E8A-4147-A177-3AD203B41FA5}">
                      <a16:colId xmlns:a16="http://schemas.microsoft.com/office/drawing/2014/main" val="3471064540"/>
                    </a:ext>
                  </a:extLst>
                </a:gridCol>
                <a:gridCol w="295492">
                  <a:extLst>
                    <a:ext uri="{9D8B030D-6E8A-4147-A177-3AD203B41FA5}">
                      <a16:colId xmlns:a16="http://schemas.microsoft.com/office/drawing/2014/main" val="670551899"/>
                    </a:ext>
                  </a:extLst>
                </a:gridCol>
                <a:gridCol w="295492">
                  <a:extLst>
                    <a:ext uri="{9D8B030D-6E8A-4147-A177-3AD203B41FA5}">
                      <a16:colId xmlns:a16="http://schemas.microsoft.com/office/drawing/2014/main" val="1100152168"/>
                    </a:ext>
                  </a:extLst>
                </a:gridCol>
                <a:gridCol w="295492">
                  <a:extLst>
                    <a:ext uri="{9D8B030D-6E8A-4147-A177-3AD203B41FA5}">
                      <a16:colId xmlns:a16="http://schemas.microsoft.com/office/drawing/2014/main" val="2165801595"/>
                    </a:ext>
                  </a:extLst>
                </a:gridCol>
                <a:gridCol w="295492">
                  <a:extLst>
                    <a:ext uri="{9D8B030D-6E8A-4147-A177-3AD203B41FA5}">
                      <a16:colId xmlns:a16="http://schemas.microsoft.com/office/drawing/2014/main" val="3981167565"/>
                    </a:ext>
                  </a:extLst>
                </a:gridCol>
                <a:gridCol w="295492">
                  <a:extLst>
                    <a:ext uri="{9D8B030D-6E8A-4147-A177-3AD203B41FA5}">
                      <a16:colId xmlns:a16="http://schemas.microsoft.com/office/drawing/2014/main" val="2740792325"/>
                    </a:ext>
                  </a:extLst>
                </a:gridCol>
                <a:gridCol w="295492">
                  <a:extLst>
                    <a:ext uri="{9D8B030D-6E8A-4147-A177-3AD203B41FA5}">
                      <a16:colId xmlns:a16="http://schemas.microsoft.com/office/drawing/2014/main" val="54782936"/>
                    </a:ext>
                  </a:extLst>
                </a:gridCol>
                <a:gridCol w="295492">
                  <a:extLst>
                    <a:ext uri="{9D8B030D-6E8A-4147-A177-3AD203B41FA5}">
                      <a16:colId xmlns:a16="http://schemas.microsoft.com/office/drawing/2014/main" val="154020430"/>
                    </a:ext>
                  </a:extLst>
                </a:gridCol>
                <a:gridCol w="295492">
                  <a:extLst>
                    <a:ext uri="{9D8B030D-6E8A-4147-A177-3AD203B41FA5}">
                      <a16:colId xmlns:a16="http://schemas.microsoft.com/office/drawing/2014/main" val="3928813835"/>
                    </a:ext>
                  </a:extLst>
                </a:gridCol>
                <a:gridCol w="295492">
                  <a:extLst>
                    <a:ext uri="{9D8B030D-6E8A-4147-A177-3AD203B41FA5}">
                      <a16:colId xmlns:a16="http://schemas.microsoft.com/office/drawing/2014/main" val="4210253042"/>
                    </a:ext>
                  </a:extLst>
                </a:gridCol>
                <a:gridCol w="295492">
                  <a:extLst>
                    <a:ext uri="{9D8B030D-6E8A-4147-A177-3AD203B41FA5}">
                      <a16:colId xmlns:a16="http://schemas.microsoft.com/office/drawing/2014/main" val="895787419"/>
                    </a:ext>
                  </a:extLst>
                </a:gridCol>
                <a:gridCol w="295492">
                  <a:extLst>
                    <a:ext uri="{9D8B030D-6E8A-4147-A177-3AD203B41FA5}">
                      <a16:colId xmlns:a16="http://schemas.microsoft.com/office/drawing/2014/main" val="3828388578"/>
                    </a:ext>
                  </a:extLst>
                </a:gridCol>
                <a:gridCol w="295492">
                  <a:extLst>
                    <a:ext uri="{9D8B030D-6E8A-4147-A177-3AD203B41FA5}">
                      <a16:colId xmlns:a16="http://schemas.microsoft.com/office/drawing/2014/main" val="742550205"/>
                    </a:ext>
                  </a:extLst>
                </a:gridCol>
                <a:gridCol w="295492">
                  <a:extLst>
                    <a:ext uri="{9D8B030D-6E8A-4147-A177-3AD203B41FA5}">
                      <a16:colId xmlns:a16="http://schemas.microsoft.com/office/drawing/2014/main" val="1408879461"/>
                    </a:ext>
                  </a:extLst>
                </a:gridCol>
              </a:tblGrid>
              <a:tr h="251292">
                <a:tc>
                  <a:txBody>
                    <a:bodyPr/>
                    <a:lstStyle/>
                    <a:p>
                      <a:r>
                        <a:rPr lang="en-US" sz="800" b="1" i="0" dirty="0">
                          <a:solidFill>
                            <a:schemeClr val="bg1"/>
                          </a:solidFill>
                          <a:latin typeface="+mj-lt"/>
                        </a:rPr>
                        <a:t>Sales </a:t>
                      </a:r>
                      <a:r>
                        <a:rPr lang="en-US" sz="800" b="1" i="0">
                          <a:solidFill>
                            <a:schemeClr val="bg1"/>
                          </a:solidFill>
                          <a:latin typeface="+mj-lt"/>
                        </a:rPr>
                        <a:t>Vs. 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rPr dirty="0"/>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rPr dirty="0"/>
                        <a:t>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helf </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Price</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Unit</a:t>
            </a:r>
          </a:p>
          <a:p>
            <a:pPr marL="0" marR="0" lvl="0" indent="0" defTabSz="685749"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Nexa Bold" panose="00000800000000000000" pitchFamily="2" charset="0"/>
              </a:rPr>
              <a:t>(</a:t>
            </a:r>
            <a:r>
              <a:rPr lang="en-US" sz="800" dirty="0">
                <a:solidFill>
                  <a:schemeClr val="tx1"/>
                </a:solidFill>
                <a:highlight>
                  <a:srgbClr val="FFFF00"/>
                </a:highlight>
                <a:latin typeface="Nexa Bold" panose="00000800000000000000" pitchFamily="2" charset="0"/>
              </a:rPr>
              <a:t>€</a:t>
            </a:r>
            <a:r>
              <a:rPr lang="en-US" sz="800" dirty="0">
                <a:solidFill>
                  <a:schemeClr val="tx1"/>
                </a:solidFill>
                <a:latin typeface="Nexa Bold" panose="00000800000000000000" pitchFamily="2" charset="0"/>
              </a:rPr>
              <a:t>)</a:t>
            </a:r>
            <a:endPar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endParaRP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Value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ales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M)</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8/11/2025</a:t>
            </a:fld>
            <a:endParaRPr lang="en-US" sz="500"/>
          </a:p>
        </p:txBody>
      </p:sp>
    </p:spTree>
    <p:extLst>
      <p:ext uri="{BB962C8B-B14F-4D97-AF65-F5344CB8AC3E}">
        <p14:creationId xmlns:p14="http://schemas.microsoft.com/office/powerpoint/2010/main" val="160527254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r>
              <a:rPr lang="en-US" dirty="0"/>
              <a:t>Inter-size Discount  | </a:t>
            </a:r>
            <a:r>
              <a:rPr lang="en-US" dirty="0">
                <a:highlight>
                  <a:srgbClr val="FFFF00"/>
                </a:highlight>
              </a:rPr>
              <a:t>Variant</a:t>
            </a:r>
            <a:r>
              <a:rPr lang="en-US" dirty="0"/>
              <a:t> | </a:t>
            </a:r>
            <a:r>
              <a:rPr lang="en-US" dirty="0">
                <a:highlight>
                  <a:srgbClr val="FFFF00"/>
                </a:highlight>
              </a:rPr>
              <a:t>National</a:t>
            </a:r>
            <a:r>
              <a:rPr lang="en-US" dirty="0"/>
              <a:t> | P12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2800073758"/>
              </p:ext>
            </p:extLst>
          </p:nvPr>
        </p:nvGraphicFramePr>
        <p:xfrm>
          <a:off x="555229" y="4265104"/>
          <a:ext cx="7441138"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95492">
                  <a:extLst>
                    <a:ext uri="{9D8B030D-6E8A-4147-A177-3AD203B41FA5}">
                      <a16:colId xmlns:a16="http://schemas.microsoft.com/office/drawing/2014/main" val="2253286919"/>
                    </a:ext>
                  </a:extLst>
                </a:gridCol>
                <a:gridCol w="295492">
                  <a:extLst>
                    <a:ext uri="{9D8B030D-6E8A-4147-A177-3AD203B41FA5}">
                      <a16:colId xmlns:a16="http://schemas.microsoft.com/office/drawing/2014/main" val="2739285047"/>
                    </a:ext>
                  </a:extLst>
                </a:gridCol>
                <a:gridCol w="295492">
                  <a:extLst>
                    <a:ext uri="{9D8B030D-6E8A-4147-A177-3AD203B41FA5}">
                      <a16:colId xmlns:a16="http://schemas.microsoft.com/office/drawing/2014/main" val="686050863"/>
                    </a:ext>
                  </a:extLst>
                </a:gridCol>
                <a:gridCol w="295492">
                  <a:extLst>
                    <a:ext uri="{9D8B030D-6E8A-4147-A177-3AD203B41FA5}">
                      <a16:colId xmlns:a16="http://schemas.microsoft.com/office/drawing/2014/main" val="3765127706"/>
                    </a:ext>
                  </a:extLst>
                </a:gridCol>
                <a:gridCol w="295492">
                  <a:extLst>
                    <a:ext uri="{9D8B030D-6E8A-4147-A177-3AD203B41FA5}">
                      <a16:colId xmlns:a16="http://schemas.microsoft.com/office/drawing/2014/main" val="273303937"/>
                    </a:ext>
                  </a:extLst>
                </a:gridCol>
                <a:gridCol w="295492">
                  <a:extLst>
                    <a:ext uri="{9D8B030D-6E8A-4147-A177-3AD203B41FA5}">
                      <a16:colId xmlns:a16="http://schemas.microsoft.com/office/drawing/2014/main" val="1190134658"/>
                    </a:ext>
                  </a:extLst>
                </a:gridCol>
                <a:gridCol w="295492">
                  <a:extLst>
                    <a:ext uri="{9D8B030D-6E8A-4147-A177-3AD203B41FA5}">
                      <a16:colId xmlns:a16="http://schemas.microsoft.com/office/drawing/2014/main" val="1152288185"/>
                    </a:ext>
                  </a:extLst>
                </a:gridCol>
                <a:gridCol w="295492">
                  <a:extLst>
                    <a:ext uri="{9D8B030D-6E8A-4147-A177-3AD203B41FA5}">
                      <a16:colId xmlns:a16="http://schemas.microsoft.com/office/drawing/2014/main" val="1888319813"/>
                    </a:ext>
                  </a:extLst>
                </a:gridCol>
                <a:gridCol w="295492">
                  <a:extLst>
                    <a:ext uri="{9D8B030D-6E8A-4147-A177-3AD203B41FA5}">
                      <a16:colId xmlns:a16="http://schemas.microsoft.com/office/drawing/2014/main" val="3471064540"/>
                    </a:ext>
                  </a:extLst>
                </a:gridCol>
                <a:gridCol w="295492">
                  <a:extLst>
                    <a:ext uri="{9D8B030D-6E8A-4147-A177-3AD203B41FA5}">
                      <a16:colId xmlns:a16="http://schemas.microsoft.com/office/drawing/2014/main" val="670551899"/>
                    </a:ext>
                  </a:extLst>
                </a:gridCol>
                <a:gridCol w="295492">
                  <a:extLst>
                    <a:ext uri="{9D8B030D-6E8A-4147-A177-3AD203B41FA5}">
                      <a16:colId xmlns:a16="http://schemas.microsoft.com/office/drawing/2014/main" val="1100152168"/>
                    </a:ext>
                  </a:extLst>
                </a:gridCol>
                <a:gridCol w="295492">
                  <a:extLst>
                    <a:ext uri="{9D8B030D-6E8A-4147-A177-3AD203B41FA5}">
                      <a16:colId xmlns:a16="http://schemas.microsoft.com/office/drawing/2014/main" val="2165801595"/>
                    </a:ext>
                  </a:extLst>
                </a:gridCol>
                <a:gridCol w="295492">
                  <a:extLst>
                    <a:ext uri="{9D8B030D-6E8A-4147-A177-3AD203B41FA5}">
                      <a16:colId xmlns:a16="http://schemas.microsoft.com/office/drawing/2014/main" val="3981167565"/>
                    </a:ext>
                  </a:extLst>
                </a:gridCol>
                <a:gridCol w="295492">
                  <a:extLst>
                    <a:ext uri="{9D8B030D-6E8A-4147-A177-3AD203B41FA5}">
                      <a16:colId xmlns:a16="http://schemas.microsoft.com/office/drawing/2014/main" val="2740792325"/>
                    </a:ext>
                  </a:extLst>
                </a:gridCol>
                <a:gridCol w="295492">
                  <a:extLst>
                    <a:ext uri="{9D8B030D-6E8A-4147-A177-3AD203B41FA5}">
                      <a16:colId xmlns:a16="http://schemas.microsoft.com/office/drawing/2014/main" val="54782936"/>
                    </a:ext>
                  </a:extLst>
                </a:gridCol>
                <a:gridCol w="295492">
                  <a:extLst>
                    <a:ext uri="{9D8B030D-6E8A-4147-A177-3AD203B41FA5}">
                      <a16:colId xmlns:a16="http://schemas.microsoft.com/office/drawing/2014/main" val="154020430"/>
                    </a:ext>
                  </a:extLst>
                </a:gridCol>
                <a:gridCol w="295492">
                  <a:extLst>
                    <a:ext uri="{9D8B030D-6E8A-4147-A177-3AD203B41FA5}">
                      <a16:colId xmlns:a16="http://schemas.microsoft.com/office/drawing/2014/main" val="3928813835"/>
                    </a:ext>
                  </a:extLst>
                </a:gridCol>
                <a:gridCol w="295492">
                  <a:extLst>
                    <a:ext uri="{9D8B030D-6E8A-4147-A177-3AD203B41FA5}">
                      <a16:colId xmlns:a16="http://schemas.microsoft.com/office/drawing/2014/main" val="4210253042"/>
                    </a:ext>
                  </a:extLst>
                </a:gridCol>
                <a:gridCol w="295492">
                  <a:extLst>
                    <a:ext uri="{9D8B030D-6E8A-4147-A177-3AD203B41FA5}">
                      <a16:colId xmlns:a16="http://schemas.microsoft.com/office/drawing/2014/main" val="895787419"/>
                    </a:ext>
                  </a:extLst>
                </a:gridCol>
                <a:gridCol w="295492">
                  <a:extLst>
                    <a:ext uri="{9D8B030D-6E8A-4147-A177-3AD203B41FA5}">
                      <a16:colId xmlns:a16="http://schemas.microsoft.com/office/drawing/2014/main" val="3828388578"/>
                    </a:ext>
                  </a:extLst>
                </a:gridCol>
                <a:gridCol w="295492">
                  <a:extLst>
                    <a:ext uri="{9D8B030D-6E8A-4147-A177-3AD203B41FA5}">
                      <a16:colId xmlns:a16="http://schemas.microsoft.com/office/drawing/2014/main" val="742550205"/>
                    </a:ext>
                  </a:extLst>
                </a:gridCol>
                <a:gridCol w="295492">
                  <a:extLst>
                    <a:ext uri="{9D8B030D-6E8A-4147-A177-3AD203B41FA5}">
                      <a16:colId xmlns:a16="http://schemas.microsoft.com/office/drawing/2014/main" val="1408879461"/>
                    </a:ext>
                  </a:extLst>
                </a:gridCol>
              </a:tblGrid>
              <a:tr h="251292">
                <a:tc>
                  <a:txBody>
                    <a:bodyPr/>
                    <a:lstStyle/>
                    <a:p>
                      <a:r>
                        <a:rPr lang="en-US" sz="800" b="1" i="0" dirty="0">
                          <a:solidFill>
                            <a:schemeClr val="bg1"/>
                          </a:solidFill>
                          <a:latin typeface="+mj-lt"/>
                        </a:rPr>
                        <a:t>Sales </a:t>
                      </a:r>
                      <a:r>
                        <a:rPr lang="en-US" sz="800" b="1" i="0">
                          <a:solidFill>
                            <a:schemeClr val="bg1"/>
                          </a:solidFill>
                          <a:latin typeface="+mj-lt"/>
                        </a:rPr>
                        <a:t>Vs. 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rPr dirty="0"/>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rPr dirty="0"/>
                        <a:t>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helf </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Price</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Unit</a:t>
            </a:r>
          </a:p>
          <a:p>
            <a:pPr marL="0" marR="0" lvl="0" indent="0" defTabSz="685749"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Nexa Bold" panose="00000800000000000000" pitchFamily="2" charset="0"/>
              </a:rPr>
              <a:t>(</a:t>
            </a:r>
            <a:r>
              <a:rPr lang="en-US" sz="800" dirty="0">
                <a:solidFill>
                  <a:schemeClr val="tx1"/>
                </a:solidFill>
                <a:highlight>
                  <a:srgbClr val="FFFF00"/>
                </a:highlight>
                <a:latin typeface="Nexa Bold" panose="00000800000000000000" pitchFamily="2" charset="0"/>
              </a:rPr>
              <a:t>€</a:t>
            </a:r>
            <a:r>
              <a:rPr lang="en-US" sz="800" dirty="0">
                <a:solidFill>
                  <a:schemeClr val="tx1"/>
                </a:solidFill>
                <a:latin typeface="Nexa Bold" panose="00000800000000000000" pitchFamily="2" charset="0"/>
              </a:rPr>
              <a:t>)</a:t>
            </a:r>
            <a:endPar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endParaRP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Value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ales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M)</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8/11/2025</a:t>
            </a:fld>
            <a:endParaRPr lang="en-US" sz="500"/>
          </a:p>
        </p:txBody>
      </p:sp>
    </p:spTree>
    <p:extLst>
      <p:ext uri="{BB962C8B-B14F-4D97-AF65-F5344CB8AC3E}">
        <p14:creationId xmlns:p14="http://schemas.microsoft.com/office/powerpoint/2010/main" val="365554823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r>
              <a:rPr lang="en-US" dirty="0"/>
              <a:t>Inter-size Discount  | </a:t>
            </a:r>
            <a:r>
              <a:rPr lang="en-US" dirty="0">
                <a:highlight>
                  <a:srgbClr val="FFFF00"/>
                </a:highlight>
              </a:rPr>
              <a:t>Variant</a:t>
            </a:r>
            <a:r>
              <a:rPr lang="en-US" dirty="0"/>
              <a:t> | </a:t>
            </a:r>
            <a:r>
              <a:rPr lang="en-US" dirty="0">
                <a:highlight>
                  <a:srgbClr val="FFFF00"/>
                </a:highlight>
              </a:rPr>
              <a:t>National</a:t>
            </a:r>
            <a:r>
              <a:rPr lang="en-US" dirty="0"/>
              <a:t> | P12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2800073758"/>
              </p:ext>
            </p:extLst>
          </p:nvPr>
        </p:nvGraphicFramePr>
        <p:xfrm>
          <a:off x="555229" y="4265104"/>
          <a:ext cx="7441138"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95492">
                  <a:extLst>
                    <a:ext uri="{9D8B030D-6E8A-4147-A177-3AD203B41FA5}">
                      <a16:colId xmlns:a16="http://schemas.microsoft.com/office/drawing/2014/main" val="2253286919"/>
                    </a:ext>
                  </a:extLst>
                </a:gridCol>
                <a:gridCol w="295492">
                  <a:extLst>
                    <a:ext uri="{9D8B030D-6E8A-4147-A177-3AD203B41FA5}">
                      <a16:colId xmlns:a16="http://schemas.microsoft.com/office/drawing/2014/main" val="2739285047"/>
                    </a:ext>
                  </a:extLst>
                </a:gridCol>
                <a:gridCol w="295492">
                  <a:extLst>
                    <a:ext uri="{9D8B030D-6E8A-4147-A177-3AD203B41FA5}">
                      <a16:colId xmlns:a16="http://schemas.microsoft.com/office/drawing/2014/main" val="686050863"/>
                    </a:ext>
                  </a:extLst>
                </a:gridCol>
                <a:gridCol w="295492">
                  <a:extLst>
                    <a:ext uri="{9D8B030D-6E8A-4147-A177-3AD203B41FA5}">
                      <a16:colId xmlns:a16="http://schemas.microsoft.com/office/drawing/2014/main" val="3765127706"/>
                    </a:ext>
                  </a:extLst>
                </a:gridCol>
                <a:gridCol w="295492">
                  <a:extLst>
                    <a:ext uri="{9D8B030D-6E8A-4147-A177-3AD203B41FA5}">
                      <a16:colId xmlns:a16="http://schemas.microsoft.com/office/drawing/2014/main" val="273303937"/>
                    </a:ext>
                  </a:extLst>
                </a:gridCol>
                <a:gridCol w="295492">
                  <a:extLst>
                    <a:ext uri="{9D8B030D-6E8A-4147-A177-3AD203B41FA5}">
                      <a16:colId xmlns:a16="http://schemas.microsoft.com/office/drawing/2014/main" val="1190134658"/>
                    </a:ext>
                  </a:extLst>
                </a:gridCol>
                <a:gridCol w="295492">
                  <a:extLst>
                    <a:ext uri="{9D8B030D-6E8A-4147-A177-3AD203B41FA5}">
                      <a16:colId xmlns:a16="http://schemas.microsoft.com/office/drawing/2014/main" val="1152288185"/>
                    </a:ext>
                  </a:extLst>
                </a:gridCol>
                <a:gridCol w="295492">
                  <a:extLst>
                    <a:ext uri="{9D8B030D-6E8A-4147-A177-3AD203B41FA5}">
                      <a16:colId xmlns:a16="http://schemas.microsoft.com/office/drawing/2014/main" val="1888319813"/>
                    </a:ext>
                  </a:extLst>
                </a:gridCol>
                <a:gridCol w="295492">
                  <a:extLst>
                    <a:ext uri="{9D8B030D-6E8A-4147-A177-3AD203B41FA5}">
                      <a16:colId xmlns:a16="http://schemas.microsoft.com/office/drawing/2014/main" val="3471064540"/>
                    </a:ext>
                  </a:extLst>
                </a:gridCol>
                <a:gridCol w="295492">
                  <a:extLst>
                    <a:ext uri="{9D8B030D-6E8A-4147-A177-3AD203B41FA5}">
                      <a16:colId xmlns:a16="http://schemas.microsoft.com/office/drawing/2014/main" val="670551899"/>
                    </a:ext>
                  </a:extLst>
                </a:gridCol>
                <a:gridCol w="295492">
                  <a:extLst>
                    <a:ext uri="{9D8B030D-6E8A-4147-A177-3AD203B41FA5}">
                      <a16:colId xmlns:a16="http://schemas.microsoft.com/office/drawing/2014/main" val="1100152168"/>
                    </a:ext>
                  </a:extLst>
                </a:gridCol>
                <a:gridCol w="295492">
                  <a:extLst>
                    <a:ext uri="{9D8B030D-6E8A-4147-A177-3AD203B41FA5}">
                      <a16:colId xmlns:a16="http://schemas.microsoft.com/office/drawing/2014/main" val="2165801595"/>
                    </a:ext>
                  </a:extLst>
                </a:gridCol>
                <a:gridCol w="295492">
                  <a:extLst>
                    <a:ext uri="{9D8B030D-6E8A-4147-A177-3AD203B41FA5}">
                      <a16:colId xmlns:a16="http://schemas.microsoft.com/office/drawing/2014/main" val="3981167565"/>
                    </a:ext>
                  </a:extLst>
                </a:gridCol>
                <a:gridCol w="295492">
                  <a:extLst>
                    <a:ext uri="{9D8B030D-6E8A-4147-A177-3AD203B41FA5}">
                      <a16:colId xmlns:a16="http://schemas.microsoft.com/office/drawing/2014/main" val="2740792325"/>
                    </a:ext>
                  </a:extLst>
                </a:gridCol>
                <a:gridCol w="295492">
                  <a:extLst>
                    <a:ext uri="{9D8B030D-6E8A-4147-A177-3AD203B41FA5}">
                      <a16:colId xmlns:a16="http://schemas.microsoft.com/office/drawing/2014/main" val="54782936"/>
                    </a:ext>
                  </a:extLst>
                </a:gridCol>
                <a:gridCol w="295492">
                  <a:extLst>
                    <a:ext uri="{9D8B030D-6E8A-4147-A177-3AD203B41FA5}">
                      <a16:colId xmlns:a16="http://schemas.microsoft.com/office/drawing/2014/main" val="154020430"/>
                    </a:ext>
                  </a:extLst>
                </a:gridCol>
                <a:gridCol w="295492">
                  <a:extLst>
                    <a:ext uri="{9D8B030D-6E8A-4147-A177-3AD203B41FA5}">
                      <a16:colId xmlns:a16="http://schemas.microsoft.com/office/drawing/2014/main" val="3928813835"/>
                    </a:ext>
                  </a:extLst>
                </a:gridCol>
                <a:gridCol w="295492">
                  <a:extLst>
                    <a:ext uri="{9D8B030D-6E8A-4147-A177-3AD203B41FA5}">
                      <a16:colId xmlns:a16="http://schemas.microsoft.com/office/drawing/2014/main" val="4210253042"/>
                    </a:ext>
                  </a:extLst>
                </a:gridCol>
                <a:gridCol w="295492">
                  <a:extLst>
                    <a:ext uri="{9D8B030D-6E8A-4147-A177-3AD203B41FA5}">
                      <a16:colId xmlns:a16="http://schemas.microsoft.com/office/drawing/2014/main" val="895787419"/>
                    </a:ext>
                  </a:extLst>
                </a:gridCol>
                <a:gridCol w="295492">
                  <a:extLst>
                    <a:ext uri="{9D8B030D-6E8A-4147-A177-3AD203B41FA5}">
                      <a16:colId xmlns:a16="http://schemas.microsoft.com/office/drawing/2014/main" val="3828388578"/>
                    </a:ext>
                  </a:extLst>
                </a:gridCol>
                <a:gridCol w="295492">
                  <a:extLst>
                    <a:ext uri="{9D8B030D-6E8A-4147-A177-3AD203B41FA5}">
                      <a16:colId xmlns:a16="http://schemas.microsoft.com/office/drawing/2014/main" val="742550205"/>
                    </a:ext>
                  </a:extLst>
                </a:gridCol>
                <a:gridCol w="295492">
                  <a:extLst>
                    <a:ext uri="{9D8B030D-6E8A-4147-A177-3AD203B41FA5}">
                      <a16:colId xmlns:a16="http://schemas.microsoft.com/office/drawing/2014/main" val="1408879461"/>
                    </a:ext>
                  </a:extLst>
                </a:gridCol>
              </a:tblGrid>
              <a:tr h="251292">
                <a:tc>
                  <a:txBody>
                    <a:bodyPr/>
                    <a:lstStyle/>
                    <a:p>
                      <a:r>
                        <a:rPr lang="en-US" sz="800" b="1" i="0" dirty="0">
                          <a:solidFill>
                            <a:schemeClr val="bg1"/>
                          </a:solidFill>
                          <a:latin typeface="+mj-lt"/>
                        </a:rPr>
                        <a:t>Sales </a:t>
                      </a:r>
                      <a:r>
                        <a:rPr lang="en-US" sz="800" b="1" i="0">
                          <a:solidFill>
                            <a:schemeClr val="bg1"/>
                          </a:solidFill>
                          <a:latin typeface="+mj-lt"/>
                        </a:rPr>
                        <a:t>Vs. 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rPr dirty="0"/>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rPr dirty="0"/>
                        <a:t>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helf </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Price</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Unit</a:t>
            </a:r>
          </a:p>
          <a:p>
            <a:pPr marL="0" marR="0" lvl="0" indent="0" defTabSz="685749"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Nexa Bold" panose="00000800000000000000" pitchFamily="2" charset="0"/>
              </a:rPr>
              <a:t>(</a:t>
            </a:r>
            <a:r>
              <a:rPr lang="en-US" sz="800" dirty="0">
                <a:solidFill>
                  <a:schemeClr val="tx1"/>
                </a:solidFill>
                <a:highlight>
                  <a:srgbClr val="FFFF00"/>
                </a:highlight>
                <a:latin typeface="Nexa Bold" panose="00000800000000000000" pitchFamily="2" charset="0"/>
              </a:rPr>
              <a:t>€</a:t>
            </a:r>
            <a:r>
              <a:rPr lang="en-US" sz="800" dirty="0">
                <a:solidFill>
                  <a:schemeClr val="tx1"/>
                </a:solidFill>
                <a:latin typeface="Nexa Bold" panose="00000800000000000000" pitchFamily="2" charset="0"/>
              </a:rPr>
              <a:t>)</a:t>
            </a:r>
            <a:endPar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endParaRP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Value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ales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M)</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8/11/2025</a:t>
            </a:fld>
            <a:endParaRPr lang="en-US" sz="500"/>
          </a:p>
        </p:txBody>
      </p:sp>
    </p:spTree>
    <p:extLst>
      <p:ext uri="{BB962C8B-B14F-4D97-AF65-F5344CB8AC3E}">
        <p14:creationId xmlns:p14="http://schemas.microsoft.com/office/powerpoint/2010/main" val="148081795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r>
              <a:rPr lang="en-US" dirty="0"/>
              <a:t>Inter-size Discount  | </a:t>
            </a:r>
            <a:r>
              <a:rPr lang="en-US" dirty="0">
                <a:highlight>
                  <a:srgbClr val="FFFF00"/>
                </a:highlight>
              </a:rPr>
              <a:t>Variant</a:t>
            </a:r>
            <a:r>
              <a:rPr lang="en-US" dirty="0"/>
              <a:t> | </a:t>
            </a:r>
            <a:r>
              <a:rPr lang="en-US" dirty="0">
                <a:highlight>
                  <a:srgbClr val="FFFF00"/>
                </a:highlight>
              </a:rPr>
              <a:t>National</a:t>
            </a:r>
            <a:r>
              <a:rPr lang="en-US" dirty="0"/>
              <a:t> | P12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2800073758"/>
              </p:ext>
            </p:extLst>
          </p:nvPr>
        </p:nvGraphicFramePr>
        <p:xfrm>
          <a:off x="555229" y="4265104"/>
          <a:ext cx="7441138"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95492">
                  <a:extLst>
                    <a:ext uri="{9D8B030D-6E8A-4147-A177-3AD203B41FA5}">
                      <a16:colId xmlns:a16="http://schemas.microsoft.com/office/drawing/2014/main" val="2253286919"/>
                    </a:ext>
                  </a:extLst>
                </a:gridCol>
                <a:gridCol w="295492">
                  <a:extLst>
                    <a:ext uri="{9D8B030D-6E8A-4147-A177-3AD203B41FA5}">
                      <a16:colId xmlns:a16="http://schemas.microsoft.com/office/drawing/2014/main" val="2739285047"/>
                    </a:ext>
                  </a:extLst>
                </a:gridCol>
                <a:gridCol w="295492">
                  <a:extLst>
                    <a:ext uri="{9D8B030D-6E8A-4147-A177-3AD203B41FA5}">
                      <a16:colId xmlns:a16="http://schemas.microsoft.com/office/drawing/2014/main" val="686050863"/>
                    </a:ext>
                  </a:extLst>
                </a:gridCol>
                <a:gridCol w="295492">
                  <a:extLst>
                    <a:ext uri="{9D8B030D-6E8A-4147-A177-3AD203B41FA5}">
                      <a16:colId xmlns:a16="http://schemas.microsoft.com/office/drawing/2014/main" val="3765127706"/>
                    </a:ext>
                  </a:extLst>
                </a:gridCol>
                <a:gridCol w="295492">
                  <a:extLst>
                    <a:ext uri="{9D8B030D-6E8A-4147-A177-3AD203B41FA5}">
                      <a16:colId xmlns:a16="http://schemas.microsoft.com/office/drawing/2014/main" val="273303937"/>
                    </a:ext>
                  </a:extLst>
                </a:gridCol>
                <a:gridCol w="295492">
                  <a:extLst>
                    <a:ext uri="{9D8B030D-6E8A-4147-A177-3AD203B41FA5}">
                      <a16:colId xmlns:a16="http://schemas.microsoft.com/office/drawing/2014/main" val="1190134658"/>
                    </a:ext>
                  </a:extLst>
                </a:gridCol>
                <a:gridCol w="295492">
                  <a:extLst>
                    <a:ext uri="{9D8B030D-6E8A-4147-A177-3AD203B41FA5}">
                      <a16:colId xmlns:a16="http://schemas.microsoft.com/office/drawing/2014/main" val="1152288185"/>
                    </a:ext>
                  </a:extLst>
                </a:gridCol>
                <a:gridCol w="295492">
                  <a:extLst>
                    <a:ext uri="{9D8B030D-6E8A-4147-A177-3AD203B41FA5}">
                      <a16:colId xmlns:a16="http://schemas.microsoft.com/office/drawing/2014/main" val="1888319813"/>
                    </a:ext>
                  </a:extLst>
                </a:gridCol>
                <a:gridCol w="295492">
                  <a:extLst>
                    <a:ext uri="{9D8B030D-6E8A-4147-A177-3AD203B41FA5}">
                      <a16:colId xmlns:a16="http://schemas.microsoft.com/office/drawing/2014/main" val="3471064540"/>
                    </a:ext>
                  </a:extLst>
                </a:gridCol>
                <a:gridCol w="295492">
                  <a:extLst>
                    <a:ext uri="{9D8B030D-6E8A-4147-A177-3AD203B41FA5}">
                      <a16:colId xmlns:a16="http://schemas.microsoft.com/office/drawing/2014/main" val="670551899"/>
                    </a:ext>
                  </a:extLst>
                </a:gridCol>
                <a:gridCol w="295492">
                  <a:extLst>
                    <a:ext uri="{9D8B030D-6E8A-4147-A177-3AD203B41FA5}">
                      <a16:colId xmlns:a16="http://schemas.microsoft.com/office/drawing/2014/main" val="1100152168"/>
                    </a:ext>
                  </a:extLst>
                </a:gridCol>
                <a:gridCol w="295492">
                  <a:extLst>
                    <a:ext uri="{9D8B030D-6E8A-4147-A177-3AD203B41FA5}">
                      <a16:colId xmlns:a16="http://schemas.microsoft.com/office/drawing/2014/main" val="2165801595"/>
                    </a:ext>
                  </a:extLst>
                </a:gridCol>
                <a:gridCol w="295492">
                  <a:extLst>
                    <a:ext uri="{9D8B030D-6E8A-4147-A177-3AD203B41FA5}">
                      <a16:colId xmlns:a16="http://schemas.microsoft.com/office/drawing/2014/main" val="3981167565"/>
                    </a:ext>
                  </a:extLst>
                </a:gridCol>
                <a:gridCol w="295492">
                  <a:extLst>
                    <a:ext uri="{9D8B030D-6E8A-4147-A177-3AD203B41FA5}">
                      <a16:colId xmlns:a16="http://schemas.microsoft.com/office/drawing/2014/main" val="2740792325"/>
                    </a:ext>
                  </a:extLst>
                </a:gridCol>
                <a:gridCol w="295492">
                  <a:extLst>
                    <a:ext uri="{9D8B030D-6E8A-4147-A177-3AD203B41FA5}">
                      <a16:colId xmlns:a16="http://schemas.microsoft.com/office/drawing/2014/main" val="54782936"/>
                    </a:ext>
                  </a:extLst>
                </a:gridCol>
                <a:gridCol w="295492">
                  <a:extLst>
                    <a:ext uri="{9D8B030D-6E8A-4147-A177-3AD203B41FA5}">
                      <a16:colId xmlns:a16="http://schemas.microsoft.com/office/drawing/2014/main" val="154020430"/>
                    </a:ext>
                  </a:extLst>
                </a:gridCol>
                <a:gridCol w="295492">
                  <a:extLst>
                    <a:ext uri="{9D8B030D-6E8A-4147-A177-3AD203B41FA5}">
                      <a16:colId xmlns:a16="http://schemas.microsoft.com/office/drawing/2014/main" val="3928813835"/>
                    </a:ext>
                  </a:extLst>
                </a:gridCol>
                <a:gridCol w="295492">
                  <a:extLst>
                    <a:ext uri="{9D8B030D-6E8A-4147-A177-3AD203B41FA5}">
                      <a16:colId xmlns:a16="http://schemas.microsoft.com/office/drawing/2014/main" val="4210253042"/>
                    </a:ext>
                  </a:extLst>
                </a:gridCol>
                <a:gridCol w="295492">
                  <a:extLst>
                    <a:ext uri="{9D8B030D-6E8A-4147-A177-3AD203B41FA5}">
                      <a16:colId xmlns:a16="http://schemas.microsoft.com/office/drawing/2014/main" val="895787419"/>
                    </a:ext>
                  </a:extLst>
                </a:gridCol>
                <a:gridCol w="295492">
                  <a:extLst>
                    <a:ext uri="{9D8B030D-6E8A-4147-A177-3AD203B41FA5}">
                      <a16:colId xmlns:a16="http://schemas.microsoft.com/office/drawing/2014/main" val="3828388578"/>
                    </a:ext>
                  </a:extLst>
                </a:gridCol>
                <a:gridCol w="295492">
                  <a:extLst>
                    <a:ext uri="{9D8B030D-6E8A-4147-A177-3AD203B41FA5}">
                      <a16:colId xmlns:a16="http://schemas.microsoft.com/office/drawing/2014/main" val="742550205"/>
                    </a:ext>
                  </a:extLst>
                </a:gridCol>
                <a:gridCol w="295492">
                  <a:extLst>
                    <a:ext uri="{9D8B030D-6E8A-4147-A177-3AD203B41FA5}">
                      <a16:colId xmlns:a16="http://schemas.microsoft.com/office/drawing/2014/main" val="1408879461"/>
                    </a:ext>
                  </a:extLst>
                </a:gridCol>
              </a:tblGrid>
              <a:tr h="251292">
                <a:tc>
                  <a:txBody>
                    <a:bodyPr/>
                    <a:lstStyle/>
                    <a:p>
                      <a:r>
                        <a:rPr lang="en-US" sz="800" b="1" i="0" dirty="0">
                          <a:solidFill>
                            <a:schemeClr val="bg1"/>
                          </a:solidFill>
                          <a:latin typeface="+mj-lt"/>
                        </a:rPr>
                        <a:t>Sales </a:t>
                      </a:r>
                      <a:r>
                        <a:rPr lang="en-US" sz="800" b="1" i="0">
                          <a:solidFill>
                            <a:schemeClr val="bg1"/>
                          </a:solidFill>
                          <a:latin typeface="+mj-lt"/>
                        </a:rPr>
                        <a:t>Vs. 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rPr dirty="0"/>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rPr dirty="0"/>
                        <a:t>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helf </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Price</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Unit</a:t>
            </a:r>
          </a:p>
          <a:p>
            <a:pPr marL="0" marR="0" lvl="0" indent="0" defTabSz="685749"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Nexa Bold" panose="00000800000000000000" pitchFamily="2" charset="0"/>
              </a:rPr>
              <a:t>(</a:t>
            </a:r>
            <a:r>
              <a:rPr lang="en-US" sz="800" dirty="0">
                <a:solidFill>
                  <a:schemeClr val="tx1"/>
                </a:solidFill>
                <a:highlight>
                  <a:srgbClr val="FFFF00"/>
                </a:highlight>
                <a:latin typeface="Nexa Bold" panose="00000800000000000000" pitchFamily="2" charset="0"/>
              </a:rPr>
              <a:t>€</a:t>
            </a:r>
            <a:r>
              <a:rPr lang="en-US" sz="800" dirty="0">
                <a:solidFill>
                  <a:schemeClr val="tx1"/>
                </a:solidFill>
                <a:latin typeface="Nexa Bold" panose="00000800000000000000" pitchFamily="2" charset="0"/>
              </a:rPr>
              <a:t>)</a:t>
            </a:r>
            <a:endPar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endParaRP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Value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ales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M)</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8/11/2025</a:t>
            </a:fld>
            <a:endParaRPr lang="en-US" sz="500"/>
          </a:p>
        </p:txBody>
      </p:sp>
    </p:spTree>
    <p:extLst>
      <p:ext uri="{BB962C8B-B14F-4D97-AF65-F5344CB8AC3E}">
        <p14:creationId xmlns:p14="http://schemas.microsoft.com/office/powerpoint/2010/main" val="202988465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r>
              <a:rPr lang="en-US" dirty="0"/>
              <a:t>Inter-size Discount  | </a:t>
            </a:r>
            <a:r>
              <a:rPr lang="en-US" dirty="0">
                <a:highlight>
                  <a:srgbClr val="FFFF00"/>
                </a:highlight>
              </a:rPr>
              <a:t>Variant</a:t>
            </a:r>
            <a:r>
              <a:rPr lang="en-US" dirty="0"/>
              <a:t> | </a:t>
            </a:r>
            <a:r>
              <a:rPr lang="en-US" dirty="0">
                <a:highlight>
                  <a:srgbClr val="FFFF00"/>
                </a:highlight>
              </a:rPr>
              <a:t>National</a:t>
            </a:r>
            <a:r>
              <a:rPr lang="en-US" dirty="0"/>
              <a:t> | P12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2800073758"/>
              </p:ext>
            </p:extLst>
          </p:nvPr>
        </p:nvGraphicFramePr>
        <p:xfrm>
          <a:off x="555229" y="4265104"/>
          <a:ext cx="7441138"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95492">
                  <a:extLst>
                    <a:ext uri="{9D8B030D-6E8A-4147-A177-3AD203B41FA5}">
                      <a16:colId xmlns:a16="http://schemas.microsoft.com/office/drawing/2014/main" val="2253286919"/>
                    </a:ext>
                  </a:extLst>
                </a:gridCol>
                <a:gridCol w="295492">
                  <a:extLst>
                    <a:ext uri="{9D8B030D-6E8A-4147-A177-3AD203B41FA5}">
                      <a16:colId xmlns:a16="http://schemas.microsoft.com/office/drawing/2014/main" val="2739285047"/>
                    </a:ext>
                  </a:extLst>
                </a:gridCol>
                <a:gridCol w="295492">
                  <a:extLst>
                    <a:ext uri="{9D8B030D-6E8A-4147-A177-3AD203B41FA5}">
                      <a16:colId xmlns:a16="http://schemas.microsoft.com/office/drawing/2014/main" val="686050863"/>
                    </a:ext>
                  </a:extLst>
                </a:gridCol>
                <a:gridCol w="295492">
                  <a:extLst>
                    <a:ext uri="{9D8B030D-6E8A-4147-A177-3AD203B41FA5}">
                      <a16:colId xmlns:a16="http://schemas.microsoft.com/office/drawing/2014/main" val="3765127706"/>
                    </a:ext>
                  </a:extLst>
                </a:gridCol>
                <a:gridCol w="295492">
                  <a:extLst>
                    <a:ext uri="{9D8B030D-6E8A-4147-A177-3AD203B41FA5}">
                      <a16:colId xmlns:a16="http://schemas.microsoft.com/office/drawing/2014/main" val="273303937"/>
                    </a:ext>
                  </a:extLst>
                </a:gridCol>
                <a:gridCol w="295492">
                  <a:extLst>
                    <a:ext uri="{9D8B030D-6E8A-4147-A177-3AD203B41FA5}">
                      <a16:colId xmlns:a16="http://schemas.microsoft.com/office/drawing/2014/main" val="1190134658"/>
                    </a:ext>
                  </a:extLst>
                </a:gridCol>
                <a:gridCol w="295492">
                  <a:extLst>
                    <a:ext uri="{9D8B030D-6E8A-4147-A177-3AD203B41FA5}">
                      <a16:colId xmlns:a16="http://schemas.microsoft.com/office/drawing/2014/main" val="1152288185"/>
                    </a:ext>
                  </a:extLst>
                </a:gridCol>
                <a:gridCol w="295492">
                  <a:extLst>
                    <a:ext uri="{9D8B030D-6E8A-4147-A177-3AD203B41FA5}">
                      <a16:colId xmlns:a16="http://schemas.microsoft.com/office/drawing/2014/main" val="1888319813"/>
                    </a:ext>
                  </a:extLst>
                </a:gridCol>
                <a:gridCol w="295492">
                  <a:extLst>
                    <a:ext uri="{9D8B030D-6E8A-4147-A177-3AD203B41FA5}">
                      <a16:colId xmlns:a16="http://schemas.microsoft.com/office/drawing/2014/main" val="3471064540"/>
                    </a:ext>
                  </a:extLst>
                </a:gridCol>
                <a:gridCol w="295492">
                  <a:extLst>
                    <a:ext uri="{9D8B030D-6E8A-4147-A177-3AD203B41FA5}">
                      <a16:colId xmlns:a16="http://schemas.microsoft.com/office/drawing/2014/main" val="670551899"/>
                    </a:ext>
                  </a:extLst>
                </a:gridCol>
                <a:gridCol w="295492">
                  <a:extLst>
                    <a:ext uri="{9D8B030D-6E8A-4147-A177-3AD203B41FA5}">
                      <a16:colId xmlns:a16="http://schemas.microsoft.com/office/drawing/2014/main" val="1100152168"/>
                    </a:ext>
                  </a:extLst>
                </a:gridCol>
                <a:gridCol w="295492">
                  <a:extLst>
                    <a:ext uri="{9D8B030D-6E8A-4147-A177-3AD203B41FA5}">
                      <a16:colId xmlns:a16="http://schemas.microsoft.com/office/drawing/2014/main" val="2165801595"/>
                    </a:ext>
                  </a:extLst>
                </a:gridCol>
                <a:gridCol w="295492">
                  <a:extLst>
                    <a:ext uri="{9D8B030D-6E8A-4147-A177-3AD203B41FA5}">
                      <a16:colId xmlns:a16="http://schemas.microsoft.com/office/drawing/2014/main" val="3981167565"/>
                    </a:ext>
                  </a:extLst>
                </a:gridCol>
                <a:gridCol w="295492">
                  <a:extLst>
                    <a:ext uri="{9D8B030D-6E8A-4147-A177-3AD203B41FA5}">
                      <a16:colId xmlns:a16="http://schemas.microsoft.com/office/drawing/2014/main" val="2740792325"/>
                    </a:ext>
                  </a:extLst>
                </a:gridCol>
                <a:gridCol w="295492">
                  <a:extLst>
                    <a:ext uri="{9D8B030D-6E8A-4147-A177-3AD203B41FA5}">
                      <a16:colId xmlns:a16="http://schemas.microsoft.com/office/drawing/2014/main" val="54782936"/>
                    </a:ext>
                  </a:extLst>
                </a:gridCol>
                <a:gridCol w="295492">
                  <a:extLst>
                    <a:ext uri="{9D8B030D-6E8A-4147-A177-3AD203B41FA5}">
                      <a16:colId xmlns:a16="http://schemas.microsoft.com/office/drawing/2014/main" val="154020430"/>
                    </a:ext>
                  </a:extLst>
                </a:gridCol>
                <a:gridCol w="295492">
                  <a:extLst>
                    <a:ext uri="{9D8B030D-6E8A-4147-A177-3AD203B41FA5}">
                      <a16:colId xmlns:a16="http://schemas.microsoft.com/office/drawing/2014/main" val="3928813835"/>
                    </a:ext>
                  </a:extLst>
                </a:gridCol>
                <a:gridCol w="295492">
                  <a:extLst>
                    <a:ext uri="{9D8B030D-6E8A-4147-A177-3AD203B41FA5}">
                      <a16:colId xmlns:a16="http://schemas.microsoft.com/office/drawing/2014/main" val="4210253042"/>
                    </a:ext>
                  </a:extLst>
                </a:gridCol>
                <a:gridCol w="295492">
                  <a:extLst>
                    <a:ext uri="{9D8B030D-6E8A-4147-A177-3AD203B41FA5}">
                      <a16:colId xmlns:a16="http://schemas.microsoft.com/office/drawing/2014/main" val="895787419"/>
                    </a:ext>
                  </a:extLst>
                </a:gridCol>
                <a:gridCol w="295492">
                  <a:extLst>
                    <a:ext uri="{9D8B030D-6E8A-4147-A177-3AD203B41FA5}">
                      <a16:colId xmlns:a16="http://schemas.microsoft.com/office/drawing/2014/main" val="3828388578"/>
                    </a:ext>
                  </a:extLst>
                </a:gridCol>
                <a:gridCol w="295492">
                  <a:extLst>
                    <a:ext uri="{9D8B030D-6E8A-4147-A177-3AD203B41FA5}">
                      <a16:colId xmlns:a16="http://schemas.microsoft.com/office/drawing/2014/main" val="742550205"/>
                    </a:ext>
                  </a:extLst>
                </a:gridCol>
                <a:gridCol w="295492">
                  <a:extLst>
                    <a:ext uri="{9D8B030D-6E8A-4147-A177-3AD203B41FA5}">
                      <a16:colId xmlns:a16="http://schemas.microsoft.com/office/drawing/2014/main" val="1408879461"/>
                    </a:ext>
                  </a:extLst>
                </a:gridCol>
              </a:tblGrid>
              <a:tr h="251292">
                <a:tc>
                  <a:txBody>
                    <a:bodyPr/>
                    <a:lstStyle/>
                    <a:p>
                      <a:r>
                        <a:rPr lang="en-US" sz="800" b="1" i="0" dirty="0">
                          <a:solidFill>
                            <a:schemeClr val="bg1"/>
                          </a:solidFill>
                          <a:latin typeface="+mj-lt"/>
                        </a:rPr>
                        <a:t>Sales </a:t>
                      </a:r>
                      <a:r>
                        <a:rPr lang="en-US" sz="800" b="1" i="0">
                          <a:solidFill>
                            <a:schemeClr val="bg1"/>
                          </a:solidFill>
                          <a:latin typeface="+mj-lt"/>
                        </a:rPr>
                        <a:t>Vs. 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rPr dirty="0"/>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rPr dirty="0"/>
                        <a:t>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helf </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Price</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Unit</a:t>
            </a:r>
          </a:p>
          <a:p>
            <a:pPr marL="0" marR="0" lvl="0" indent="0" defTabSz="685749"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Nexa Bold" panose="00000800000000000000" pitchFamily="2" charset="0"/>
              </a:rPr>
              <a:t>(</a:t>
            </a:r>
            <a:r>
              <a:rPr lang="en-US" sz="800" dirty="0">
                <a:solidFill>
                  <a:schemeClr val="tx1"/>
                </a:solidFill>
                <a:highlight>
                  <a:srgbClr val="FFFF00"/>
                </a:highlight>
                <a:latin typeface="Nexa Bold" panose="00000800000000000000" pitchFamily="2" charset="0"/>
              </a:rPr>
              <a:t>€</a:t>
            </a:r>
            <a:r>
              <a:rPr lang="en-US" sz="800" dirty="0">
                <a:solidFill>
                  <a:schemeClr val="tx1"/>
                </a:solidFill>
                <a:latin typeface="Nexa Bold" panose="00000800000000000000" pitchFamily="2" charset="0"/>
              </a:rPr>
              <a:t>)</a:t>
            </a:r>
            <a:endPar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endParaRP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Value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ales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M)</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8/11/2025</a:t>
            </a:fld>
            <a:endParaRPr lang="en-US" sz="500"/>
          </a:p>
        </p:txBody>
      </p:sp>
    </p:spTree>
    <p:extLst>
      <p:ext uri="{BB962C8B-B14F-4D97-AF65-F5344CB8AC3E}">
        <p14:creationId xmlns:p14="http://schemas.microsoft.com/office/powerpoint/2010/main" val="376880213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r>
              <a:rPr lang="en-US" dirty="0"/>
              <a:t>Inter-size Discount  | </a:t>
            </a:r>
            <a:r>
              <a:rPr lang="en-US" dirty="0">
                <a:highlight>
                  <a:srgbClr val="FFFF00"/>
                </a:highlight>
              </a:rPr>
              <a:t>Variant</a:t>
            </a:r>
            <a:r>
              <a:rPr lang="en-US" dirty="0"/>
              <a:t> | </a:t>
            </a:r>
            <a:r>
              <a:rPr lang="en-US" dirty="0">
                <a:highlight>
                  <a:srgbClr val="FFFF00"/>
                </a:highlight>
              </a:rPr>
              <a:t>National</a:t>
            </a:r>
            <a:r>
              <a:rPr lang="en-US" dirty="0"/>
              <a:t> | P12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2800073758"/>
              </p:ext>
            </p:extLst>
          </p:nvPr>
        </p:nvGraphicFramePr>
        <p:xfrm>
          <a:off x="555229" y="4265104"/>
          <a:ext cx="7441138"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95492">
                  <a:extLst>
                    <a:ext uri="{9D8B030D-6E8A-4147-A177-3AD203B41FA5}">
                      <a16:colId xmlns:a16="http://schemas.microsoft.com/office/drawing/2014/main" val="2253286919"/>
                    </a:ext>
                  </a:extLst>
                </a:gridCol>
                <a:gridCol w="295492">
                  <a:extLst>
                    <a:ext uri="{9D8B030D-6E8A-4147-A177-3AD203B41FA5}">
                      <a16:colId xmlns:a16="http://schemas.microsoft.com/office/drawing/2014/main" val="2739285047"/>
                    </a:ext>
                  </a:extLst>
                </a:gridCol>
                <a:gridCol w="295492">
                  <a:extLst>
                    <a:ext uri="{9D8B030D-6E8A-4147-A177-3AD203B41FA5}">
                      <a16:colId xmlns:a16="http://schemas.microsoft.com/office/drawing/2014/main" val="686050863"/>
                    </a:ext>
                  </a:extLst>
                </a:gridCol>
                <a:gridCol w="295492">
                  <a:extLst>
                    <a:ext uri="{9D8B030D-6E8A-4147-A177-3AD203B41FA5}">
                      <a16:colId xmlns:a16="http://schemas.microsoft.com/office/drawing/2014/main" val="3765127706"/>
                    </a:ext>
                  </a:extLst>
                </a:gridCol>
                <a:gridCol w="295492">
                  <a:extLst>
                    <a:ext uri="{9D8B030D-6E8A-4147-A177-3AD203B41FA5}">
                      <a16:colId xmlns:a16="http://schemas.microsoft.com/office/drawing/2014/main" val="273303937"/>
                    </a:ext>
                  </a:extLst>
                </a:gridCol>
                <a:gridCol w="295492">
                  <a:extLst>
                    <a:ext uri="{9D8B030D-6E8A-4147-A177-3AD203B41FA5}">
                      <a16:colId xmlns:a16="http://schemas.microsoft.com/office/drawing/2014/main" val="1190134658"/>
                    </a:ext>
                  </a:extLst>
                </a:gridCol>
                <a:gridCol w="295492">
                  <a:extLst>
                    <a:ext uri="{9D8B030D-6E8A-4147-A177-3AD203B41FA5}">
                      <a16:colId xmlns:a16="http://schemas.microsoft.com/office/drawing/2014/main" val="1152288185"/>
                    </a:ext>
                  </a:extLst>
                </a:gridCol>
                <a:gridCol w="295492">
                  <a:extLst>
                    <a:ext uri="{9D8B030D-6E8A-4147-A177-3AD203B41FA5}">
                      <a16:colId xmlns:a16="http://schemas.microsoft.com/office/drawing/2014/main" val="1888319813"/>
                    </a:ext>
                  </a:extLst>
                </a:gridCol>
                <a:gridCol w="295492">
                  <a:extLst>
                    <a:ext uri="{9D8B030D-6E8A-4147-A177-3AD203B41FA5}">
                      <a16:colId xmlns:a16="http://schemas.microsoft.com/office/drawing/2014/main" val="3471064540"/>
                    </a:ext>
                  </a:extLst>
                </a:gridCol>
                <a:gridCol w="295492">
                  <a:extLst>
                    <a:ext uri="{9D8B030D-6E8A-4147-A177-3AD203B41FA5}">
                      <a16:colId xmlns:a16="http://schemas.microsoft.com/office/drawing/2014/main" val="670551899"/>
                    </a:ext>
                  </a:extLst>
                </a:gridCol>
                <a:gridCol w="295492">
                  <a:extLst>
                    <a:ext uri="{9D8B030D-6E8A-4147-A177-3AD203B41FA5}">
                      <a16:colId xmlns:a16="http://schemas.microsoft.com/office/drawing/2014/main" val="1100152168"/>
                    </a:ext>
                  </a:extLst>
                </a:gridCol>
                <a:gridCol w="295492">
                  <a:extLst>
                    <a:ext uri="{9D8B030D-6E8A-4147-A177-3AD203B41FA5}">
                      <a16:colId xmlns:a16="http://schemas.microsoft.com/office/drawing/2014/main" val="2165801595"/>
                    </a:ext>
                  </a:extLst>
                </a:gridCol>
                <a:gridCol w="295492">
                  <a:extLst>
                    <a:ext uri="{9D8B030D-6E8A-4147-A177-3AD203B41FA5}">
                      <a16:colId xmlns:a16="http://schemas.microsoft.com/office/drawing/2014/main" val="3981167565"/>
                    </a:ext>
                  </a:extLst>
                </a:gridCol>
                <a:gridCol w="295492">
                  <a:extLst>
                    <a:ext uri="{9D8B030D-6E8A-4147-A177-3AD203B41FA5}">
                      <a16:colId xmlns:a16="http://schemas.microsoft.com/office/drawing/2014/main" val="2740792325"/>
                    </a:ext>
                  </a:extLst>
                </a:gridCol>
                <a:gridCol w="295492">
                  <a:extLst>
                    <a:ext uri="{9D8B030D-6E8A-4147-A177-3AD203B41FA5}">
                      <a16:colId xmlns:a16="http://schemas.microsoft.com/office/drawing/2014/main" val="54782936"/>
                    </a:ext>
                  </a:extLst>
                </a:gridCol>
                <a:gridCol w="295492">
                  <a:extLst>
                    <a:ext uri="{9D8B030D-6E8A-4147-A177-3AD203B41FA5}">
                      <a16:colId xmlns:a16="http://schemas.microsoft.com/office/drawing/2014/main" val="154020430"/>
                    </a:ext>
                  </a:extLst>
                </a:gridCol>
                <a:gridCol w="295492">
                  <a:extLst>
                    <a:ext uri="{9D8B030D-6E8A-4147-A177-3AD203B41FA5}">
                      <a16:colId xmlns:a16="http://schemas.microsoft.com/office/drawing/2014/main" val="3928813835"/>
                    </a:ext>
                  </a:extLst>
                </a:gridCol>
                <a:gridCol w="295492">
                  <a:extLst>
                    <a:ext uri="{9D8B030D-6E8A-4147-A177-3AD203B41FA5}">
                      <a16:colId xmlns:a16="http://schemas.microsoft.com/office/drawing/2014/main" val="4210253042"/>
                    </a:ext>
                  </a:extLst>
                </a:gridCol>
                <a:gridCol w="295492">
                  <a:extLst>
                    <a:ext uri="{9D8B030D-6E8A-4147-A177-3AD203B41FA5}">
                      <a16:colId xmlns:a16="http://schemas.microsoft.com/office/drawing/2014/main" val="895787419"/>
                    </a:ext>
                  </a:extLst>
                </a:gridCol>
                <a:gridCol w="295492">
                  <a:extLst>
                    <a:ext uri="{9D8B030D-6E8A-4147-A177-3AD203B41FA5}">
                      <a16:colId xmlns:a16="http://schemas.microsoft.com/office/drawing/2014/main" val="3828388578"/>
                    </a:ext>
                  </a:extLst>
                </a:gridCol>
                <a:gridCol w="295492">
                  <a:extLst>
                    <a:ext uri="{9D8B030D-6E8A-4147-A177-3AD203B41FA5}">
                      <a16:colId xmlns:a16="http://schemas.microsoft.com/office/drawing/2014/main" val="742550205"/>
                    </a:ext>
                  </a:extLst>
                </a:gridCol>
                <a:gridCol w="295492">
                  <a:extLst>
                    <a:ext uri="{9D8B030D-6E8A-4147-A177-3AD203B41FA5}">
                      <a16:colId xmlns:a16="http://schemas.microsoft.com/office/drawing/2014/main" val="1408879461"/>
                    </a:ext>
                  </a:extLst>
                </a:gridCol>
              </a:tblGrid>
              <a:tr h="251292">
                <a:tc>
                  <a:txBody>
                    <a:bodyPr/>
                    <a:lstStyle/>
                    <a:p>
                      <a:r>
                        <a:rPr lang="en-US" sz="800" b="1" i="0" dirty="0">
                          <a:solidFill>
                            <a:schemeClr val="bg1"/>
                          </a:solidFill>
                          <a:latin typeface="+mj-lt"/>
                        </a:rPr>
                        <a:t>Sales </a:t>
                      </a:r>
                      <a:r>
                        <a:rPr lang="en-US" sz="800" b="1" i="0">
                          <a:solidFill>
                            <a:schemeClr val="bg1"/>
                          </a:solidFill>
                          <a:latin typeface="+mj-lt"/>
                        </a:rPr>
                        <a:t>Vs. 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rPr dirty="0"/>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rPr dirty="0"/>
                        <a:t>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helf </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Price</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Unit</a:t>
            </a:r>
          </a:p>
          <a:p>
            <a:pPr marL="0" marR="0" lvl="0" indent="0" defTabSz="685749"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Nexa Bold" panose="00000800000000000000" pitchFamily="2" charset="0"/>
              </a:rPr>
              <a:t>(</a:t>
            </a:r>
            <a:r>
              <a:rPr lang="en-US" sz="800" dirty="0">
                <a:solidFill>
                  <a:schemeClr val="tx1"/>
                </a:solidFill>
                <a:highlight>
                  <a:srgbClr val="FFFF00"/>
                </a:highlight>
                <a:latin typeface="Nexa Bold" panose="00000800000000000000" pitchFamily="2" charset="0"/>
              </a:rPr>
              <a:t>€</a:t>
            </a:r>
            <a:r>
              <a:rPr lang="en-US" sz="800" dirty="0">
                <a:solidFill>
                  <a:schemeClr val="tx1"/>
                </a:solidFill>
                <a:latin typeface="Nexa Bold" panose="00000800000000000000" pitchFamily="2" charset="0"/>
              </a:rPr>
              <a:t>)</a:t>
            </a:r>
            <a:endPar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endParaRP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Value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ales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M)</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8/11/2025</a:t>
            </a:fld>
            <a:endParaRPr lang="en-US" sz="500"/>
          </a:p>
        </p:txBody>
      </p:sp>
    </p:spTree>
    <p:extLst>
      <p:ext uri="{BB962C8B-B14F-4D97-AF65-F5344CB8AC3E}">
        <p14:creationId xmlns:p14="http://schemas.microsoft.com/office/powerpoint/2010/main" val="115355129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r>
              <a:rPr lang="en-US" dirty="0"/>
              <a:t>Inter-size Discount  | </a:t>
            </a:r>
            <a:r>
              <a:rPr lang="en-US" dirty="0">
                <a:highlight>
                  <a:srgbClr val="FFFF00"/>
                </a:highlight>
              </a:rPr>
              <a:t>Variant</a:t>
            </a:r>
            <a:r>
              <a:rPr lang="en-US" dirty="0"/>
              <a:t> | </a:t>
            </a:r>
            <a:r>
              <a:rPr lang="en-US" dirty="0">
                <a:highlight>
                  <a:srgbClr val="FFFF00"/>
                </a:highlight>
              </a:rPr>
              <a:t>National</a:t>
            </a:r>
            <a:r>
              <a:rPr lang="en-US" dirty="0"/>
              <a:t> | P12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2800073758"/>
              </p:ext>
            </p:extLst>
          </p:nvPr>
        </p:nvGraphicFramePr>
        <p:xfrm>
          <a:off x="555229" y="4265104"/>
          <a:ext cx="7441138"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95492">
                  <a:extLst>
                    <a:ext uri="{9D8B030D-6E8A-4147-A177-3AD203B41FA5}">
                      <a16:colId xmlns:a16="http://schemas.microsoft.com/office/drawing/2014/main" val="2253286919"/>
                    </a:ext>
                  </a:extLst>
                </a:gridCol>
                <a:gridCol w="295492">
                  <a:extLst>
                    <a:ext uri="{9D8B030D-6E8A-4147-A177-3AD203B41FA5}">
                      <a16:colId xmlns:a16="http://schemas.microsoft.com/office/drawing/2014/main" val="2739285047"/>
                    </a:ext>
                  </a:extLst>
                </a:gridCol>
                <a:gridCol w="295492">
                  <a:extLst>
                    <a:ext uri="{9D8B030D-6E8A-4147-A177-3AD203B41FA5}">
                      <a16:colId xmlns:a16="http://schemas.microsoft.com/office/drawing/2014/main" val="686050863"/>
                    </a:ext>
                  </a:extLst>
                </a:gridCol>
                <a:gridCol w="295492">
                  <a:extLst>
                    <a:ext uri="{9D8B030D-6E8A-4147-A177-3AD203B41FA5}">
                      <a16:colId xmlns:a16="http://schemas.microsoft.com/office/drawing/2014/main" val="3765127706"/>
                    </a:ext>
                  </a:extLst>
                </a:gridCol>
                <a:gridCol w="295492">
                  <a:extLst>
                    <a:ext uri="{9D8B030D-6E8A-4147-A177-3AD203B41FA5}">
                      <a16:colId xmlns:a16="http://schemas.microsoft.com/office/drawing/2014/main" val="273303937"/>
                    </a:ext>
                  </a:extLst>
                </a:gridCol>
                <a:gridCol w="295492">
                  <a:extLst>
                    <a:ext uri="{9D8B030D-6E8A-4147-A177-3AD203B41FA5}">
                      <a16:colId xmlns:a16="http://schemas.microsoft.com/office/drawing/2014/main" val="1190134658"/>
                    </a:ext>
                  </a:extLst>
                </a:gridCol>
                <a:gridCol w="295492">
                  <a:extLst>
                    <a:ext uri="{9D8B030D-6E8A-4147-A177-3AD203B41FA5}">
                      <a16:colId xmlns:a16="http://schemas.microsoft.com/office/drawing/2014/main" val="1152288185"/>
                    </a:ext>
                  </a:extLst>
                </a:gridCol>
                <a:gridCol w="295492">
                  <a:extLst>
                    <a:ext uri="{9D8B030D-6E8A-4147-A177-3AD203B41FA5}">
                      <a16:colId xmlns:a16="http://schemas.microsoft.com/office/drawing/2014/main" val="1888319813"/>
                    </a:ext>
                  </a:extLst>
                </a:gridCol>
                <a:gridCol w="295492">
                  <a:extLst>
                    <a:ext uri="{9D8B030D-6E8A-4147-A177-3AD203B41FA5}">
                      <a16:colId xmlns:a16="http://schemas.microsoft.com/office/drawing/2014/main" val="3471064540"/>
                    </a:ext>
                  </a:extLst>
                </a:gridCol>
                <a:gridCol w="295492">
                  <a:extLst>
                    <a:ext uri="{9D8B030D-6E8A-4147-A177-3AD203B41FA5}">
                      <a16:colId xmlns:a16="http://schemas.microsoft.com/office/drawing/2014/main" val="670551899"/>
                    </a:ext>
                  </a:extLst>
                </a:gridCol>
                <a:gridCol w="295492">
                  <a:extLst>
                    <a:ext uri="{9D8B030D-6E8A-4147-A177-3AD203B41FA5}">
                      <a16:colId xmlns:a16="http://schemas.microsoft.com/office/drawing/2014/main" val="1100152168"/>
                    </a:ext>
                  </a:extLst>
                </a:gridCol>
                <a:gridCol w="295492">
                  <a:extLst>
                    <a:ext uri="{9D8B030D-6E8A-4147-A177-3AD203B41FA5}">
                      <a16:colId xmlns:a16="http://schemas.microsoft.com/office/drawing/2014/main" val="2165801595"/>
                    </a:ext>
                  </a:extLst>
                </a:gridCol>
                <a:gridCol w="295492">
                  <a:extLst>
                    <a:ext uri="{9D8B030D-6E8A-4147-A177-3AD203B41FA5}">
                      <a16:colId xmlns:a16="http://schemas.microsoft.com/office/drawing/2014/main" val="3981167565"/>
                    </a:ext>
                  </a:extLst>
                </a:gridCol>
                <a:gridCol w="295492">
                  <a:extLst>
                    <a:ext uri="{9D8B030D-6E8A-4147-A177-3AD203B41FA5}">
                      <a16:colId xmlns:a16="http://schemas.microsoft.com/office/drawing/2014/main" val="2740792325"/>
                    </a:ext>
                  </a:extLst>
                </a:gridCol>
                <a:gridCol w="295492">
                  <a:extLst>
                    <a:ext uri="{9D8B030D-6E8A-4147-A177-3AD203B41FA5}">
                      <a16:colId xmlns:a16="http://schemas.microsoft.com/office/drawing/2014/main" val="54782936"/>
                    </a:ext>
                  </a:extLst>
                </a:gridCol>
                <a:gridCol w="295492">
                  <a:extLst>
                    <a:ext uri="{9D8B030D-6E8A-4147-A177-3AD203B41FA5}">
                      <a16:colId xmlns:a16="http://schemas.microsoft.com/office/drawing/2014/main" val="154020430"/>
                    </a:ext>
                  </a:extLst>
                </a:gridCol>
                <a:gridCol w="295492">
                  <a:extLst>
                    <a:ext uri="{9D8B030D-6E8A-4147-A177-3AD203B41FA5}">
                      <a16:colId xmlns:a16="http://schemas.microsoft.com/office/drawing/2014/main" val="3928813835"/>
                    </a:ext>
                  </a:extLst>
                </a:gridCol>
                <a:gridCol w="295492">
                  <a:extLst>
                    <a:ext uri="{9D8B030D-6E8A-4147-A177-3AD203B41FA5}">
                      <a16:colId xmlns:a16="http://schemas.microsoft.com/office/drawing/2014/main" val="4210253042"/>
                    </a:ext>
                  </a:extLst>
                </a:gridCol>
                <a:gridCol w="295492">
                  <a:extLst>
                    <a:ext uri="{9D8B030D-6E8A-4147-A177-3AD203B41FA5}">
                      <a16:colId xmlns:a16="http://schemas.microsoft.com/office/drawing/2014/main" val="895787419"/>
                    </a:ext>
                  </a:extLst>
                </a:gridCol>
                <a:gridCol w="295492">
                  <a:extLst>
                    <a:ext uri="{9D8B030D-6E8A-4147-A177-3AD203B41FA5}">
                      <a16:colId xmlns:a16="http://schemas.microsoft.com/office/drawing/2014/main" val="3828388578"/>
                    </a:ext>
                  </a:extLst>
                </a:gridCol>
                <a:gridCol w="295492">
                  <a:extLst>
                    <a:ext uri="{9D8B030D-6E8A-4147-A177-3AD203B41FA5}">
                      <a16:colId xmlns:a16="http://schemas.microsoft.com/office/drawing/2014/main" val="742550205"/>
                    </a:ext>
                  </a:extLst>
                </a:gridCol>
                <a:gridCol w="295492">
                  <a:extLst>
                    <a:ext uri="{9D8B030D-6E8A-4147-A177-3AD203B41FA5}">
                      <a16:colId xmlns:a16="http://schemas.microsoft.com/office/drawing/2014/main" val="1408879461"/>
                    </a:ext>
                  </a:extLst>
                </a:gridCol>
              </a:tblGrid>
              <a:tr h="251292">
                <a:tc>
                  <a:txBody>
                    <a:bodyPr/>
                    <a:lstStyle/>
                    <a:p>
                      <a:r>
                        <a:rPr lang="en-US" sz="800" b="1" i="0" dirty="0">
                          <a:solidFill>
                            <a:schemeClr val="bg1"/>
                          </a:solidFill>
                          <a:latin typeface="+mj-lt"/>
                        </a:rPr>
                        <a:t>Sales </a:t>
                      </a:r>
                      <a:r>
                        <a:rPr lang="en-US" sz="800" b="1" i="0">
                          <a:solidFill>
                            <a:schemeClr val="bg1"/>
                          </a:solidFill>
                          <a:latin typeface="+mj-lt"/>
                        </a:rPr>
                        <a:t>Vs. 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rPr dirty="0"/>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rPr dirty="0"/>
                        <a:t>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helf </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Price</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Unit</a:t>
            </a:r>
          </a:p>
          <a:p>
            <a:pPr marL="0" marR="0" lvl="0" indent="0" defTabSz="685749"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Nexa Bold" panose="00000800000000000000" pitchFamily="2" charset="0"/>
              </a:rPr>
              <a:t>(</a:t>
            </a:r>
            <a:r>
              <a:rPr lang="en-US" sz="800" dirty="0">
                <a:solidFill>
                  <a:schemeClr val="tx1"/>
                </a:solidFill>
                <a:highlight>
                  <a:srgbClr val="FFFF00"/>
                </a:highlight>
                <a:latin typeface="Nexa Bold" panose="00000800000000000000" pitchFamily="2" charset="0"/>
              </a:rPr>
              <a:t>€</a:t>
            </a:r>
            <a:r>
              <a:rPr lang="en-US" sz="800" dirty="0">
                <a:solidFill>
                  <a:schemeClr val="tx1"/>
                </a:solidFill>
                <a:latin typeface="Nexa Bold" panose="00000800000000000000" pitchFamily="2" charset="0"/>
              </a:rPr>
              <a:t>)</a:t>
            </a:r>
            <a:endPar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endParaRP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Value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ales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M)</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8/11/2025</a:t>
            </a:fld>
            <a:endParaRPr lang="en-US" sz="500"/>
          </a:p>
        </p:txBody>
      </p:sp>
    </p:spTree>
    <p:extLst>
      <p:ext uri="{BB962C8B-B14F-4D97-AF65-F5344CB8AC3E}">
        <p14:creationId xmlns:p14="http://schemas.microsoft.com/office/powerpoint/2010/main" val="400851470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r>
              <a:rPr lang="en-US" dirty="0"/>
              <a:t>Inter-size Discount  | </a:t>
            </a:r>
            <a:r>
              <a:rPr lang="en-US" dirty="0">
                <a:highlight>
                  <a:srgbClr val="FFFF00"/>
                </a:highlight>
              </a:rPr>
              <a:t>Variant</a:t>
            </a:r>
            <a:r>
              <a:rPr lang="en-US" dirty="0"/>
              <a:t> | </a:t>
            </a:r>
            <a:r>
              <a:rPr lang="en-US" dirty="0">
                <a:highlight>
                  <a:srgbClr val="FFFF00"/>
                </a:highlight>
              </a:rPr>
              <a:t>National</a:t>
            </a:r>
            <a:r>
              <a:rPr lang="en-US" dirty="0"/>
              <a:t> | P12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2800073758"/>
              </p:ext>
            </p:extLst>
          </p:nvPr>
        </p:nvGraphicFramePr>
        <p:xfrm>
          <a:off x="555229" y="4265104"/>
          <a:ext cx="7441138"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95492">
                  <a:extLst>
                    <a:ext uri="{9D8B030D-6E8A-4147-A177-3AD203B41FA5}">
                      <a16:colId xmlns:a16="http://schemas.microsoft.com/office/drawing/2014/main" val="2253286919"/>
                    </a:ext>
                  </a:extLst>
                </a:gridCol>
                <a:gridCol w="295492">
                  <a:extLst>
                    <a:ext uri="{9D8B030D-6E8A-4147-A177-3AD203B41FA5}">
                      <a16:colId xmlns:a16="http://schemas.microsoft.com/office/drawing/2014/main" val="2739285047"/>
                    </a:ext>
                  </a:extLst>
                </a:gridCol>
                <a:gridCol w="295492">
                  <a:extLst>
                    <a:ext uri="{9D8B030D-6E8A-4147-A177-3AD203B41FA5}">
                      <a16:colId xmlns:a16="http://schemas.microsoft.com/office/drawing/2014/main" val="686050863"/>
                    </a:ext>
                  </a:extLst>
                </a:gridCol>
                <a:gridCol w="295492">
                  <a:extLst>
                    <a:ext uri="{9D8B030D-6E8A-4147-A177-3AD203B41FA5}">
                      <a16:colId xmlns:a16="http://schemas.microsoft.com/office/drawing/2014/main" val="3765127706"/>
                    </a:ext>
                  </a:extLst>
                </a:gridCol>
                <a:gridCol w="295492">
                  <a:extLst>
                    <a:ext uri="{9D8B030D-6E8A-4147-A177-3AD203B41FA5}">
                      <a16:colId xmlns:a16="http://schemas.microsoft.com/office/drawing/2014/main" val="273303937"/>
                    </a:ext>
                  </a:extLst>
                </a:gridCol>
                <a:gridCol w="295492">
                  <a:extLst>
                    <a:ext uri="{9D8B030D-6E8A-4147-A177-3AD203B41FA5}">
                      <a16:colId xmlns:a16="http://schemas.microsoft.com/office/drawing/2014/main" val="1190134658"/>
                    </a:ext>
                  </a:extLst>
                </a:gridCol>
                <a:gridCol w="295492">
                  <a:extLst>
                    <a:ext uri="{9D8B030D-6E8A-4147-A177-3AD203B41FA5}">
                      <a16:colId xmlns:a16="http://schemas.microsoft.com/office/drawing/2014/main" val="1152288185"/>
                    </a:ext>
                  </a:extLst>
                </a:gridCol>
                <a:gridCol w="295492">
                  <a:extLst>
                    <a:ext uri="{9D8B030D-6E8A-4147-A177-3AD203B41FA5}">
                      <a16:colId xmlns:a16="http://schemas.microsoft.com/office/drawing/2014/main" val="1888319813"/>
                    </a:ext>
                  </a:extLst>
                </a:gridCol>
                <a:gridCol w="295492">
                  <a:extLst>
                    <a:ext uri="{9D8B030D-6E8A-4147-A177-3AD203B41FA5}">
                      <a16:colId xmlns:a16="http://schemas.microsoft.com/office/drawing/2014/main" val="3471064540"/>
                    </a:ext>
                  </a:extLst>
                </a:gridCol>
                <a:gridCol w="295492">
                  <a:extLst>
                    <a:ext uri="{9D8B030D-6E8A-4147-A177-3AD203B41FA5}">
                      <a16:colId xmlns:a16="http://schemas.microsoft.com/office/drawing/2014/main" val="670551899"/>
                    </a:ext>
                  </a:extLst>
                </a:gridCol>
                <a:gridCol w="295492">
                  <a:extLst>
                    <a:ext uri="{9D8B030D-6E8A-4147-A177-3AD203B41FA5}">
                      <a16:colId xmlns:a16="http://schemas.microsoft.com/office/drawing/2014/main" val="1100152168"/>
                    </a:ext>
                  </a:extLst>
                </a:gridCol>
                <a:gridCol w="295492">
                  <a:extLst>
                    <a:ext uri="{9D8B030D-6E8A-4147-A177-3AD203B41FA5}">
                      <a16:colId xmlns:a16="http://schemas.microsoft.com/office/drawing/2014/main" val="2165801595"/>
                    </a:ext>
                  </a:extLst>
                </a:gridCol>
                <a:gridCol w="295492">
                  <a:extLst>
                    <a:ext uri="{9D8B030D-6E8A-4147-A177-3AD203B41FA5}">
                      <a16:colId xmlns:a16="http://schemas.microsoft.com/office/drawing/2014/main" val="3981167565"/>
                    </a:ext>
                  </a:extLst>
                </a:gridCol>
                <a:gridCol w="295492">
                  <a:extLst>
                    <a:ext uri="{9D8B030D-6E8A-4147-A177-3AD203B41FA5}">
                      <a16:colId xmlns:a16="http://schemas.microsoft.com/office/drawing/2014/main" val="2740792325"/>
                    </a:ext>
                  </a:extLst>
                </a:gridCol>
                <a:gridCol w="295492">
                  <a:extLst>
                    <a:ext uri="{9D8B030D-6E8A-4147-A177-3AD203B41FA5}">
                      <a16:colId xmlns:a16="http://schemas.microsoft.com/office/drawing/2014/main" val="54782936"/>
                    </a:ext>
                  </a:extLst>
                </a:gridCol>
                <a:gridCol w="295492">
                  <a:extLst>
                    <a:ext uri="{9D8B030D-6E8A-4147-A177-3AD203B41FA5}">
                      <a16:colId xmlns:a16="http://schemas.microsoft.com/office/drawing/2014/main" val="154020430"/>
                    </a:ext>
                  </a:extLst>
                </a:gridCol>
                <a:gridCol w="295492">
                  <a:extLst>
                    <a:ext uri="{9D8B030D-6E8A-4147-A177-3AD203B41FA5}">
                      <a16:colId xmlns:a16="http://schemas.microsoft.com/office/drawing/2014/main" val="3928813835"/>
                    </a:ext>
                  </a:extLst>
                </a:gridCol>
                <a:gridCol w="295492">
                  <a:extLst>
                    <a:ext uri="{9D8B030D-6E8A-4147-A177-3AD203B41FA5}">
                      <a16:colId xmlns:a16="http://schemas.microsoft.com/office/drawing/2014/main" val="4210253042"/>
                    </a:ext>
                  </a:extLst>
                </a:gridCol>
                <a:gridCol w="295492">
                  <a:extLst>
                    <a:ext uri="{9D8B030D-6E8A-4147-A177-3AD203B41FA5}">
                      <a16:colId xmlns:a16="http://schemas.microsoft.com/office/drawing/2014/main" val="895787419"/>
                    </a:ext>
                  </a:extLst>
                </a:gridCol>
                <a:gridCol w="295492">
                  <a:extLst>
                    <a:ext uri="{9D8B030D-6E8A-4147-A177-3AD203B41FA5}">
                      <a16:colId xmlns:a16="http://schemas.microsoft.com/office/drawing/2014/main" val="3828388578"/>
                    </a:ext>
                  </a:extLst>
                </a:gridCol>
                <a:gridCol w="295492">
                  <a:extLst>
                    <a:ext uri="{9D8B030D-6E8A-4147-A177-3AD203B41FA5}">
                      <a16:colId xmlns:a16="http://schemas.microsoft.com/office/drawing/2014/main" val="742550205"/>
                    </a:ext>
                  </a:extLst>
                </a:gridCol>
                <a:gridCol w="295492">
                  <a:extLst>
                    <a:ext uri="{9D8B030D-6E8A-4147-A177-3AD203B41FA5}">
                      <a16:colId xmlns:a16="http://schemas.microsoft.com/office/drawing/2014/main" val="1408879461"/>
                    </a:ext>
                  </a:extLst>
                </a:gridCol>
              </a:tblGrid>
              <a:tr h="251292">
                <a:tc>
                  <a:txBody>
                    <a:bodyPr/>
                    <a:lstStyle/>
                    <a:p>
                      <a:r>
                        <a:rPr lang="en-US" sz="800" b="1" i="0" dirty="0">
                          <a:solidFill>
                            <a:schemeClr val="bg1"/>
                          </a:solidFill>
                          <a:latin typeface="+mj-lt"/>
                        </a:rPr>
                        <a:t>Sales </a:t>
                      </a:r>
                      <a:r>
                        <a:rPr lang="en-US" sz="800" b="1" i="0">
                          <a:solidFill>
                            <a:schemeClr val="bg1"/>
                          </a:solidFill>
                          <a:latin typeface="+mj-lt"/>
                        </a:rPr>
                        <a:t>Vs. 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rPr dirty="0"/>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rPr dirty="0"/>
                        <a:t>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helf </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Price</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Unit</a:t>
            </a:r>
          </a:p>
          <a:p>
            <a:pPr marL="0" marR="0" lvl="0" indent="0" defTabSz="685749"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Nexa Bold" panose="00000800000000000000" pitchFamily="2" charset="0"/>
              </a:rPr>
              <a:t>(</a:t>
            </a:r>
            <a:r>
              <a:rPr lang="en-US" sz="800" dirty="0">
                <a:solidFill>
                  <a:schemeClr val="tx1"/>
                </a:solidFill>
                <a:highlight>
                  <a:srgbClr val="FFFF00"/>
                </a:highlight>
                <a:latin typeface="Nexa Bold" panose="00000800000000000000" pitchFamily="2" charset="0"/>
              </a:rPr>
              <a:t>€</a:t>
            </a:r>
            <a:r>
              <a:rPr lang="en-US" sz="800" dirty="0">
                <a:solidFill>
                  <a:schemeClr val="tx1"/>
                </a:solidFill>
                <a:latin typeface="Nexa Bold" panose="00000800000000000000" pitchFamily="2" charset="0"/>
              </a:rPr>
              <a:t>)</a:t>
            </a:r>
            <a:endPar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endParaRP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Value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ales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M)</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8/11/2025</a:t>
            </a:fld>
            <a:endParaRPr lang="en-US" sz="500"/>
          </a:p>
        </p:txBody>
      </p:sp>
    </p:spTree>
    <p:extLst>
      <p:ext uri="{BB962C8B-B14F-4D97-AF65-F5344CB8AC3E}">
        <p14:creationId xmlns:p14="http://schemas.microsoft.com/office/powerpoint/2010/main" val="295035642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r>
              <a:rPr lang="en-US" dirty="0"/>
              <a:t>Inter-size Discount  | </a:t>
            </a:r>
            <a:r>
              <a:rPr lang="en-US" dirty="0">
                <a:highlight>
                  <a:srgbClr val="FFFF00"/>
                </a:highlight>
              </a:rPr>
              <a:t>Variant</a:t>
            </a:r>
            <a:r>
              <a:rPr lang="en-US" dirty="0"/>
              <a:t> | </a:t>
            </a:r>
            <a:r>
              <a:rPr lang="en-US" dirty="0">
                <a:highlight>
                  <a:srgbClr val="FFFF00"/>
                </a:highlight>
              </a:rPr>
              <a:t>National</a:t>
            </a:r>
            <a:r>
              <a:rPr lang="en-US" dirty="0"/>
              <a:t> | P12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2800073758"/>
              </p:ext>
            </p:extLst>
          </p:nvPr>
        </p:nvGraphicFramePr>
        <p:xfrm>
          <a:off x="555229" y="4265104"/>
          <a:ext cx="7441138"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95492">
                  <a:extLst>
                    <a:ext uri="{9D8B030D-6E8A-4147-A177-3AD203B41FA5}">
                      <a16:colId xmlns:a16="http://schemas.microsoft.com/office/drawing/2014/main" val="2253286919"/>
                    </a:ext>
                  </a:extLst>
                </a:gridCol>
                <a:gridCol w="295492">
                  <a:extLst>
                    <a:ext uri="{9D8B030D-6E8A-4147-A177-3AD203B41FA5}">
                      <a16:colId xmlns:a16="http://schemas.microsoft.com/office/drawing/2014/main" val="2739285047"/>
                    </a:ext>
                  </a:extLst>
                </a:gridCol>
                <a:gridCol w="295492">
                  <a:extLst>
                    <a:ext uri="{9D8B030D-6E8A-4147-A177-3AD203B41FA5}">
                      <a16:colId xmlns:a16="http://schemas.microsoft.com/office/drawing/2014/main" val="686050863"/>
                    </a:ext>
                  </a:extLst>
                </a:gridCol>
                <a:gridCol w="295492">
                  <a:extLst>
                    <a:ext uri="{9D8B030D-6E8A-4147-A177-3AD203B41FA5}">
                      <a16:colId xmlns:a16="http://schemas.microsoft.com/office/drawing/2014/main" val="3765127706"/>
                    </a:ext>
                  </a:extLst>
                </a:gridCol>
                <a:gridCol w="295492">
                  <a:extLst>
                    <a:ext uri="{9D8B030D-6E8A-4147-A177-3AD203B41FA5}">
                      <a16:colId xmlns:a16="http://schemas.microsoft.com/office/drawing/2014/main" val="273303937"/>
                    </a:ext>
                  </a:extLst>
                </a:gridCol>
                <a:gridCol w="295492">
                  <a:extLst>
                    <a:ext uri="{9D8B030D-6E8A-4147-A177-3AD203B41FA5}">
                      <a16:colId xmlns:a16="http://schemas.microsoft.com/office/drawing/2014/main" val="1190134658"/>
                    </a:ext>
                  </a:extLst>
                </a:gridCol>
                <a:gridCol w="295492">
                  <a:extLst>
                    <a:ext uri="{9D8B030D-6E8A-4147-A177-3AD203B41FA5}">
                      <a16:colId xmlns:a16="http://schemas.microsoft.com/office/drawing/2014/main" val="1152288185"/>
                    </a:ext>
                  </a:extLst>
                </a:gridCol>
                <a:gridCol w="295492">
                  <a:extLst>
                    <a:ext uri="{9D8B030D-6E8A-4147-A177-3AD203B41FA5}">
                      <a16:colId xmlns:a16="http://schemas.microsoft.com/office/drawing/2014/main" val="1888319813"/>
                    </a:ext>
                  </a:extLst>
                </a:gridCol>
                <a:gridCol w="295492">
                  <a:extLst>
                    <a:ext uri="{9D8B030D-6E8A-4147-A177-3AD203B41FA5}">
                      <a16:colId xmlns:a16="http://schemas.microsoft.com/office/drawing/2014/main" val="3471064540"/>
                    </a:ext>
                  </a:extLst>
                </a:gridCol>
                <a:gridCol w="295492">
                  <a:extLst>
                    <a:ext uri="{9D8B030D-6E8A-4147-A177-3AD203B41FA5}">
                      <a16:colId xmlns:a16="http://schemas.microsoft.com/office/drawing/2014/main" val="670551899"/>
                    </a:ext>
                  </a:extLst>
                </a:gridCol>
                <a:gridCol w="295492">
                  <a:extLst>
                    <a:ext uri="{9D8B030D-6E8A-4147-A177-3AD203B41FA5}">
                      <a16:colId xmlns:a16="http://schemas.microsoft.com/office/drawing/2014/main" val="1100152168"/>
                    </a:ext>
                  </a:extLst>
                </a:gridCol>
                <a:gridCol w="295492">
                  <a:extLst>
                    <a:ext uri="{9D8B030D-6E8A-4147-A177-3AD203B41FA5}">
                      <a16:colId xmlns:a16="http://schemas.microsoft.com/office/drawing/2014/main" val="2165801595"/>
                    </a:ext>
                  </a:extLst>
                </a:gridCol>
                <a:gridCol w="295492">
                  <a:extLst>
                    <a:ext uri="{9D8B030D-6E8A-4147-A177-3AD203B41FA5}">
                      <a16:colId xmlns:a16="http://schemas.microsoft.com/office/drawing/2014/main" val="3981167565"/>
                    </a:ext>
                  </a:extLst>
                </a:gridCol>
                <a:gridCol w="295492">
                  <a:extLst>
                    <a:ext uri="{9D8B030D-6E8A-4147-A177-3AD203B41FA5}">
                      <a16:colId xmlns:a16="http://schemas.microsoft.com/office/drawing/2014/main" val="2740792325"/>
                    </a:ext>
                  </a:extLst>
                </a:gridCol>
                <a:gridCol w="295492">
                  <a:extLst>
                    <a:ext uri="{9D8B030D-6E8A-4147-A177-3AD203B41FA5}">
                      <a16:colId xmlns:a16="http://schemas.microsoft.com/office/drawing/2014/main" val="54782936"/>
                    </a:ext>
                  </a:extLst>
                </a:gridCol>
                <a:gridCol w="295492">
                  <a:extLst>
                    <a:ext uri="{9D8B030D-6E8A-4147-A177-3AD203B41FA5}">
                      <a16:colId xmlns:a16="http://schemas.microsoft.com/office/drawing/2014/main" val="154020430"/>
                    </a:ext>
                  </a:extLst>
                </a:gridCol>
                <a:gridCol w="295492">
                  <a:extLst>
                    <a:ext uri="{9D8B030D-6E8A-4147-A177-3AD203B41FA5}">
                      <a16:colId xmlns:a16="http://schemas.microsoft.com/office/drawing/2014/main" val="3928813835"/>
                    </a:ext>
                  </a:extLst>
                </a:gridCol>
                <a:gridCol w="295492">
                  <a:extLst>
                    <a:ext uri="{9D8B030D-6E8A-4147-A177-3AD203B41FA5}">
                      <a16:colId xmlns:a16="http://schemas.microsoft.com/office/drawing/2014/main" val="4210253042"/>
                    </a:ext>
                  </a:extLst>
                </a:gridCol>
                <a:gridCol w="295492">
                  <a:extLst>
                    <a:ext uri="{9D8B030D-6E8A-4147-A177-3AD203B41FA5}">
                      <a16:colId xmlns:a16="http://schemas.microsoft.com/office/drawing/2014/main" val="895787419"/>
                    </a:ext>
                  </a:extLst>
                </a:gridCol>
                <a:gridCol w="295492">
                  <a:extLst>
                    <a:ext uri="{9D8B030D-6E8A-4147-A177-3AD203B41FA5}">
                      <a16:colId xmlns:a16="http://schemas.microsoft.com/office/drawing/2014/main" val="3828388578"/>
                    </a:ext>
                  </a:extLst>
                </a:gridCol>
                <a:gridCol w="295492">
                  <a:extLst>
                    <a:ext uri="{9D8B030D-6E8A-4147-A177-3AD203B41FA5}">
                      <a16:colId xmlns:a16="http://schemas.microsoft.com/office/drawing/2014/main" val="742550205"/>
                    </a:ext>
                  </a:extLst>
                </a:gridCol>
                <a:gridCol w="295492">
                  <a:extLst>
                    <a:ext uri="{9D8B030D-6E8A-4147-A177-3AD203B41FA5}">
                      <a16:colId xmlns:a16="http://schemas.microsoft.com/office/drawing/2014/main" val="1408879461"/>
                    </a:ext>
                  </a:extLst>
                </a:gridCol>
              </a:tblGrid>
              <a:tr h="251292">
                <a:tc>
                  <a:txBody>
                    <a:bodyPr/>
                    <a:lstStyle/>
                    <a:p>
                      <a:r>
                        <a:rPr lang="en-US" sz="800" b="1" i="0" dirty="0">
                          <a:solidFill>
                            <a:schemeClr val="bg1"/>
                          </a:solidFill>
                          <a:latin typeface="+mj-lt"/>
                        </a:rPr>
                        <a:t>Sales </a:t>
                      </a:r>
                      <a:r>
                        <a:rPr lang="en-US" sz="800" b="1" i="0">
                          <a:solidFill>
                            <a:schemeClr val="bg1"/>
                          </a:solidFill>
                          <a:latin typeface="+mj-lt"/>
                        </a:rPr>
                        <a:t>Vs. 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rPr dirty="0"/>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rPr dirty="0"/>
                        <a:t>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helf </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Price</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Unit</a:t>
            </a:r>
          </a:p>
          <a:p>
            <a:pPr marL="0" marR="0" lvl="0" indent="0" defTabSz="685749"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Nexa Bold" panose="00000800000000000000" pitchFamily="2" charset="0"/>
              </a:rPr>
              <a:t>(</a:t>
            </a:r>
            <a:r>
              <a:rPr lang="en-US" sz="800" dirty="0">
                <a:solidFill>
                  <a:schemeClr val="tx1"/>
                </a:solidFill>
                <a:highlight>
                  <a:srgbClr val="FFFF00"/>
                </a:highlight>
                <a:latin typeface="Nexa Bold" panose="00000800000000000000" pitchFamily="2" charset="0"/>
              </a:rPr>
              <a:t>€</a:t>
            </a:r>
            <a:r>
              <a:rPr lang="en-US" sz="800" dirty="0">
                <a:solidFill>
                  <a:schemeClr val="tx1"/>
                </a:solidFill>
                <a:latin typeface="Nexa Bold" panose="00000800000000000000" pitchFamily="2" charset="0"/>
              </a:rPr>
              <a:t>)</a:t>
            </a:r>
            <a:endPar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endParaRP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Value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ales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M)</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8/11/2025</a:t>
            </a:fld>
            <a:endParaRPr lang="en-US" sz="500"/>
          </a:p>
        </p:txBody>
      </p:sp>
    </p:spTree>
    <p:extLst>
      <p:ext uri="{BB962C8B-B14F-4D97-AF65-F5344CB8AC3E}">
        <p14:creationId xmlns:p14="http://schemas.microsoft.com/office/powerpoint/2010/main" val="8207566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r>
              <a:rPr lang="en-US" dirty="0"/>
              <a:t>Inter-size Discount  | </a:t>
            </a:r>
            <a:r>
              <a:rPr lang="en-US" dirty="0">
                <a:highlight>
                  <a:srgbClr val="FFFF00"/>
                </a:highlight>
              </a:rPr>
              <a:t>Variant</a:t>
            </a:r>
            <a:r>
              <a:rPr lang="en-US" dirty="0"/>
              <a:t> | </a:t>
            </a:r>
            <a:r>
              <a:rPr lang="en-US" dirty="0">
                <a:highlight>
                  <a:srgbClr val="FFFF00"/>
                </a:highlight>
              </a:rPr>
              <a:t>National</a:t>
            </a:r>
            <a:r>
              <a:rPr lang="en-US" dirty="0"/>
              <a:t> | P12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2800073758"/>
              </p:ext>
            </p:extLst>
          </p:nvPr>
        </p:nvGraphicFramePr>
        <p:xfrm>
          <a:off x="555229" y="4265104"/>
          <a:ext cx="7441138"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95492">
                  <a:extLst>
                    <a:ext uri="{9D8B030D-6E8A-4147-A177-3AD203B41FA5}">
                      <a16:colId xmlns:a16="http://schemas.microsoft.com/office/drawing/2014/main" val="2253286919"/>
                    </a:ext>
                  </a:extLst>
                </a:gridCol>
                <a:gridCol w="295492">
                  <a:extLst>
                    <a:ext uri="{9D8B030D-6E8A-4147-A177-3AD203B41FA5}">
                      <a16:colId xmlns:a16="http://schemas.microsoft.com/office/drawing/2014/main" val="2739285047"/>
                    </a:ext>
                  </a:extLst>
                </a:gridCol>
                <a:gridCol w="295492">
                  <a:extLst>
                    <a:ext uri="{9D8B030D-6E8A-4147-A177-3AD203B41FA5}">
                      <a16:colId xmlns:a16="http://schemas.microsoft.com/office/drawing/2014/main" val="686050863"/>
                    </a:ext>
                  </a:extLst>
                </a:gridCol>
                <a:gridCol w="295492">
                  <a:extLst>
                    <a:ext uri="{9D8B030D-6E8A-4147-A177-3AD203B41FA5}">
                      <a16:colId xmlns:a16="http://schemas.microsoft.com/office/drawing/2014/main" val="3765127706"/>
                    </a:ext>
                  </a:extLst>
                </a:gridCol>
                <a:gridCol w="295492">
                  <a:extLst>
                    <a:ext uri="{9D8B030D-6E8A-4147-A177-3AD203B41FA5}">
                      <a16:colId xmlns:a16="http://schemas.microsoft.com/office/drawing/2014/main" val="273303937"/>
                    </a:ext>
                  </a:extLst>
                </a:gridCol>
                <a:gridCol w="295492">
                  <a:extLst>
                    <a:ext uri="{9D8B030D-6E8A-4147-A177-3AD203B41FA5}">
                      <a16:colId xmlns:a16="http://schemas.microsoft.com/office/drawing/2014/main" val="1190134658"/>
                    </a:ext>
                  </a:extLst>
                </a:gridCol>
                <a:gridCol w="295492">
                  <a:extLst>
                    <a:ext uri="{9D8B030D-6E8A-4147-A177-3AD203B41FA5}">
                      <a16:colId xmlns:a16="http://schemas.microsoft.com/office/drawing/2014/main" val="1152288185"/>
                    </a:ext>
                  </a:extLst>
                </a:gridCol>
                <a:gridCol w="295492">
                  <a:extLst>
                    <a:ext uri="{9D8B030D-6E8A-4147-A177-3AD203B41FA5}">
                      <a16:colId xmlns:a16="http://schemas.microsoft.com/office/drawing/2014/main" val="1888319813"/>
                    </a:ext>
                  </a:extLst>
                </a:gridCol>
                <a:gridCol w="295492">
                  <a:extLst>
                    <a:ext uri="{9D8B030D-6E8A-4147-A177-3AD203B41FA5}">
                      <a16:colId xmlns:a16="http://schemas.microsoft.com/office/drawing/2014/main" val="3471064540"/>
                    </a:ext>
                  </a:extLst>
                </a:gridCol>
                <a:gridCol w="295492">
                  <a:extLst>
                    <a:ext uri="{9D8B030D-6E8A-4147-A177-3AD203B41FA5}">
                      <a16:colId xmlns:a16="http://schemas.microsoft.com/office/drawing/2014/main" val="670551899"/>
                    </a:ext>
                  </a:extLst>
                </a:gridCol>
                <a:gridCol w="295492">
                  <a:extLst>
                    <a:ext uri="{9D8B030D-6E8A-4147-A177-3AD203B41FA5}">
                      <a16:colId xmlns:a16="http://schemas.microsoft.com/office/drawing/2014/main" val="1100152168"/>
                    </a:ext>
                  </a:extLst>
                </a:gridCol>
                <a:gridCol w="295492">
                  <a:extLst>
                    <a:ext uri="{9D8B030D-6E8A-4147-A177-3AD203B41FA5}">
                      <a16:colId xmlns:a16="http://schemas.microsoft.com/office/drawing/2014/main" val="2165801595"/>
                    </a:ext>
                  </a:extLst>
                </a:gridCol>
                <a:gridCol w="295492">
                  <a:extLst>
                    <a:ext uri="{9D8B030D-6E8A-4147-A177-3AD203B41FA5}">
                      <a16:colId xmlns:a16="http://schemas.microsoft.com/office/drawing/2014/main" val="3981167565"/>
                    </a:ext>
                  </a:extLst>
                </a:gridCol>
                <a:gridCol w="295492">
                  <a:extLst>
                    <a:ext uri="{9D8B030D-6E8A-4147-A177-3AD203B41FA5}">
                      <a16:colId xmlns:a16="http://schemas.microsoft.com/office/drawing/2014/main" val="2740792325"/>
                    </a:ext>
                  </a:extLst>
                </a:gridCol>
                <a:gridCol w="295492">
                  <a:extLst>
                    <a:ext uri="{9D8B030D-6E8A-4147-A177-3AD203B41FA5}">
                      <a16:colId xmlns:a16="http://schemas.microsoft.com/office/drawing/2014/main" val="54782936"/>
                    </a:ext>
                  </a:extLst>
                </a:gridCol>
                <a:gridCol w="295492">
                  <a:extLst>
                    <a:ext uri="{9D8B030D-6E8A-4147-A177-3AD203B41FA5}">
                      <a16:colId xmlns:a16="http://schemas.microsoft.com/office/drawing/2014/main" val="154020430"/>
                    </a:ext>
                  </a:extLst>
                </a:gridCol>
                <a:gridCol w="295492">
                  <a:extLst>
                    <a:ext uri="{9D8B030D-6E8A-4147-A177-3AD203B41FA5}">
                      <a16:colId xmlns:a16="http://schemas.microsoft.com/office/drawing/2014/main" val="3928813835"/>
                    </a:ext>
                  </a:extLst>
                </a:gridCol>
                <a:gridCol w="295492">
                  <a:extLst>
                    <a:ext uri="{9D8B030D-6E8A-4147-A177-3AD203B41FA5}">
                      <a16:colId xmlns:a16="http://schemas.microsoft.com/office/drawing/2014/main" val="4210253042"/>
                    </a:ext>
                  </a:extLst>
                </a:gridCol>
                <a:gridCol w="295492">
                  <a:extLst>
                    <a:ext uri="{9D8B030D-6E8A-4147-A177-3AD203B41FA5}">
                      <a16:colId xmlns:a16="http://schemas.microsoft.com/office/drawing/2014/main" val="895787419"/>
                    </a:ext>
                  </a:extLst>
                </a:gridCol>
                <a:gridCol w="295492">
                  <a:extLst>
                    <a:ext uri="{9D8B030D-6E8A-4147-A177-3AD203B41FA5}">
                      <a16:colId xmlns:a16="http://schemas.microsoft.com/office/drawing/2014/main" val="3828388578"/>
                    </a:ext>
                  </a:extLst>
                </a:gridCol>
                <a:gridCol w="295492">
                  <a:extLst>
                    <a:ext uri="{9D8B030D-6E8A-4147-A177-3AD203B41FA5}">
                      <a16:colId xmlns:a16="http://schemas.microsoft.com/office/drawing/2014/main" val="742550205"/>
                    </a:ext>
                  </a:extLst>
                </a:gridCol>
                <a:gridCol w="295492">
                  <a:extLst>
                    <a:ext uri="{9D8B030D-6E8A-4147-A177-3AD203B41FA5}">
                      <a16:colId xmlns:a16="http://schemas.microsoft.com/office/drawing/2014/main" val="1408879461"/>
                    </a:ext>
                  </a:extLst>
                </a:gridCol>
              </a:tblGrid>
              <a:tr h="251292">
                <a:tc>
                  <a:txBody>
                    <a:bodyPr/>
                    <a:lstStyle/>
                    <a:p>
                      <a:r>
                        <a:rPr lang="en-US" sz="800" b="1" i="0" dirty="0">
                          <a:solidFill>
                            <a:schemeClr val="bg1"/>
                          </a:solidFill>
                          <a:latin typeface="+mj-lt"/>
                        </a:rPr>
                        <a:t>Sales </a:t>
                      </a:r>
                      <a:r>
                        <a:rPr lang="en-US" sz="800" b="1" i="0">
                          <a:solidFill>
                            <a:schemeClr val="bg1"/>
                          </a:solidFill>
                          <a:latin typeface="+mj-lt"/>
                        </a:rPr>
                        <a:t>Vs. 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rPr dirty="0"/>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rPr dirty="0"/>
                        <a:t>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helf </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Price</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Unit</a:t>
            </a:r>
          </a:p>
          <a:p>
            <a:pPr marL="0" marR="0" lvl="0" indent="0" defTabSz="685749"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Nexa Bold" panose="00000800000000000000" pitchFamily="2" charset="0"/>
              </a:rPr>
              <a:t>(</a:t>
            </a:r>
            <a:r>
              <a:rPr lang="en-US" sz="800" dirty="0">
                <a:solidFill>
                  <a:schemeClr val="tx1"/>
                </a:solidFill>
                <a:highlight>
                  <a:srgbClr val="FFFF00"/>
                </a:highlight>
                <a:latin typeface="Nexa Bold" panose="00000800000000000000" pitchFamily="2" charset="0"/>
              </a:rPr>
              <a:t>€</a:t>
            </a:r>
            <a:r>
              <a:rPr lang="en-US" sz="800" dirty="0">
                <a:solidFill>
                  <a:schemeClr val="tx1"/>
                </a:solidFill>
                <a:latin typeface="Nexa Bold" panose="00000800000000000000" pitchFamily="2" charset="0"/>
              </a:rPr>
              <a:t>)</a:t>
            </a:r>
            <a:endPar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endParaRP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Value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ales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M)</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8/11/2025</a:t>
            </a:fld>
            <a:endParaRPr lang="en-US" sz="500"/>
          </a:p>
        </p:txBody>
      </p:sp>
    </p:spTree>
    <p:extLst>
      <p:ext uri="{BB962C8B-B14F-4D97-AF65-F5344CB8AC3E}">
        <p14:creationId xmlns:p14="http://schemas.microsoft.com/office/powerpoint/2010/main" val="293098854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r>
              <a:rPr lang="en-US" dirty="0"/>
              <a:t>Inter-size Discount  | </a:t>
            </a:r>
            <a:r>
              <a:rPr lang="en-US" dirty="0">
                <a:highlight>
                  <a:srgbClr val="FFFF00"/>
                </a:highlight>
              </a:rPr>
              <a:t>Variant</a:t>
            </a:r>
            <a:r>
              <a:rPr lang="en-US" dirty="0"/>
              <a:t> | </a:t>
            </a:r>
            <a:r>
              <a:rPr lang="en-US" dirty="0">
                <a:highlight>
                  <a:srgbClr val="FFFF00"/>
                </a:highlight>
              </a:rPr>
              <a:t>National</a:t>
            </a:r>
            <a:r>
              <a:rPr lang="en-US" dirty="0"/>
              <a:t> | P12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2800073758"/>
              </p:ext>
            </p:extLst>
          </p:nvPr>
        </p:nvGraphicFramePr>
        <p:xfrm>
          <a:off x="555229" y="4265104"/>
          <a:ext cx="7441138"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95492">
                  <a:extLst>
                    <a:ext uri="{9D8B030D-6E8A-4147-A177-3AD203B41FA5}">
                      <a16:colId xmlns:a16="http://schemas.microsoft.com/office/drawing/2014/main" val="2253286919"/>
                    </a:ext>
                  </a:extLst>
                </a:gridCol>
                <a:gridCol w="295492">
                  <a:extLst>
                    <a:ext uri="{9D8B030D-6E8A-4147-A177-3AD203B41FA5}">
                      <a16:colId xmlns:a16="http://schemas.microsoft.com/office/drawing/2014/main" val="2739285047"/>
                    </a:ext>
                  </a:extLst>
                </a:gridCol>
                <a:gridCol w="295492">
                  <a:extLst>
                    <a:ext uri="{9D8B030D-6E8A-4147-A177-3AD203B41FA5}">
                      <a16:colId xmlns:a16="http://schemas.microsoft.com/office/drawing/2014/main" val="686050863"/>
                    </a:ext>
                  </a:extLst>
                </a:gridCol>
                <a:gridCol w="295492">
                  <a:extLst>
                    <a:ext uri="{9D8B030D-6E8A-4147-A177-3AD203B41FA5}">
                      <a16:colId xmlns:a16="http://schemas.microsoft.com/office/drawing/2014/main" val="3765127706"/>
                    </a:ext>
                  </a:extLst>
                </a:gridCol>
                <a:gridCol w="295492">
                  <a:extLst>
                    <a:ext uri="{9D8B030D-6E8A-4147-A177-3AD203B41FA5}">
                      <a16:colId xmlns:a16="http://schemas.microsoft.com/office/drawing/2014/main" val="273303937"/>
                    </a:ext>
                  </a:extLst>
                </a:gridCol>
                <a:gridCol w="295492">
                  <a:extLst>
                    <a:ext uri="{9D8B030D-6E8A-4147-A177-3AD203B41FA5}">
                      <a16:colId xmlns:a16="http://schemas.microsoft.com/office/drawing/2014/main" val="1190134658"/>
                    </a:ext>
                  </a:extLst>
                </a:gridCol>
                <a:gridCol w="295492">
                  <a:extLst>
                    <a:ext uri="{9D8B030D-6E8A-4147-A177-3AD203B41FA5}">
                      <a16:colId xmlns:a16="http://schemas.microsoft.com/office/drawing/2014/main" val="1152288185"/>
                    </a:ext>
                  </a:extLst>
                </a:gridCol>
                <a:gridCol w="295492">
                  <a:extLst>
                    <a:ext uri="{9D8B030D-6E8A-4147-A177-3AD203B41FA5}">
                      <a16:colId xmlns:a16="http://schemas.microsoft.com/office/drawing/2014/main" val="1888319813"/>
                    </a:ext>
                  </a:extLst>
                </a:gridCol>
                <a:gridCol w="295492">
                  <a:extLst>
                    <a:ext uri="{9D8B030D-6E8A-4147-A177-3AD203B41FA5}">
                      <a16:colId xmlns:a16="http://schemas.microsoft.com/office/drawing/2014/main" val="3471064540"/>
                    </a:ext>
                  </a:extLst>
                </a:gridCol>
                <a:gridCol w="295492">
                  <a:extLst>
                    <a:ext uri="{9D8B030D-6E8A-4147-A177-3AD203B41FA5}">
                      <a16:colId xmlns:a16="http://schemas.microsoft.com/office/drawing/2014/main" val="670551899"/>
                    </a:ext>
                  </a:extLst>
                </a:gridCol>
                <a:gridCol w="295492">
                  <a:extLst>
                    <a:ext uri="{9D8B030D-6E8A-4147-A177-3AD203B41FA5}">
                      <a16:colId xmlns:a16="http://schemas.microsoft.com/office/drawing/2014/main" val="1100152168"/>
                    </a:ext>
                  </a:extLst>
                </a:gridCol>
                <a:gridCol w="295492">
                  <a:extLst>
                    <a:ext uri="{9D8B030D-6E8A-4147-A177-3AD203B41FA5}">
                      <a16:colId xmlns:a16="http://schemas.microsoft.com/office/drawing/2014/main" val="2165801595"/>
                    </a:ext>
                  </a:extLst>
                </a:gridCol>
                <a:gridCol w="295492">
                  <a:extLst>
                    <a:ext uri="{9D8B030D-6E8A-4147-A177-3AD203B41FA5}">
                      <a16:colId xmlns:a16="http://schemas.microsoft.com/office/drawing/2014/main" val="3981167565"/>
                    </a:ext>
                  </a:extLst>
                </a:gridCol>
                <a:gridCol w="295492">
                  <a:extLst>
                    <a:ext uri="{9D8B030D-6E8A-4147-A177-3AD203B41FA5}">
                      <a16:colId xmlns:a16="http://schemas.microsoft.com/office/drawing/2014/main" val="2740792325"/>
                    </a:ext>
                  </a:extLst>
                </a:gridCol>
                <a:gridCol w="295492">
                  <a:extLst>
                    <a:ext uri="{9D8B030D-6E8A-4147-A177-3AD203B41FA5}">
                      <a16:colId xmlns:a16="http://schemas.microsoft.com/office/drawing/2014/main" val="54782936"/>
                    </a:ext>
                  </a:extLst>
                </a:gridCol>
                <a:gridCol w="295492">
                  <a:extLst>
                    <a:ext uri="{9D8B030D-6E8A-4147-A177-3AD203B41FA5}">
                      <a16:colId xmlns:a16="http://schemas.microsoft.com/office/drawing/2014/main" val="154020430"/>
                    </a:ext>
                  </a:extLst>
                </a:gridCol>
                <a:gridCol w="295492">
                  <a:extLst>
                    <a:ext uri="{9D8B030D-6E8A-4147-A177-3AD203B41FA5}">
                      <a16:colId xmlns:a16="http://schemas.microsoft.com/office/drawing/2014/main" val="3928813835"/>
                    </a:ext>
                  </a:extLst>
                </a:gridCol>
                <a:gridCol w="295492">
                  <a:extLst>
                    <a:ext uri="{9D8B030D-6E8A-4147-A177-3AD203B41FA5}">
                      <a16:colId xmlns:a16="http://schemas.microsoft.com/office/drawing/2014/main" val="4210253042"/>
                    </a:ext>
                  </a:extLst>
                </a:gridCol>
                <a:gridCol w="295492">
                  <a:extLst>
                    <a:ext uri="{9D8B030D-6E8A-4147-A177-3AD203B41FA5}">
                      <a16:colId xmlns:a16="http://schemas.microsoft.com/office/drawing/2014/main" val="895787419"/>
                    </a:ext>
                  </a:extLst>
                </a:gridCol>
                <a:gridCol w="295492">
                  <a:extLst>
                    <a:ext uri="{9D8B030D-6E8A-4147-A177-3AD203B41FA5}">
                      <a16:colId xmlns:a16="http://schemas.microsoft.com/office/drawing/2014/main" val="3828388578"/>
                    </a:ext>
                  </a:extLst>
                </a:gridCol>
                <a:gridCol w="295492">
                  <a:extLst>
                    <a:ext uri="{9D8B030D-6E8A-4147-A177-3AD203B41FA5}">
                      <a16:colId xmlns:a16="http://schemas.microsoft.com/office/drawing/2014/main" val="742550205"/>
                    </a:ext>
                  </a:extLst>
                </a:gridCol>
                <a:gridCol w="295492">
                  <a:extLst>
                    <a:ext uri="{9D8B030D-6E8A-4147-A177-3AD203B41FA5}">
                      <a16:colId xmlns:a16="http://schemas.microsoft.com/office/drawing/2014/main" val="1408879461"/>
                    </a:ext>
                  </a:extLst>
                </a:gridCol>
              </a:tblGrid>
              <a:tr h="251292">
                <a:tc>
                  <a:txBody>
                    <a:bodyPr/>
                    <a:lstStyle/>
                    <a:p>
                      <a:r>
                        <a:rPr lang="en-US" sz="800" b="1" i="0" dirty="0">
                          <a:solidFill>
                            <a:schemeClr val="bg1"/>
                          </a:solidFill>
                          <a:latin typeface="+mj-lt"/>
                        </a:rPr>
                        <a:t>Sales </a:t>
                      </a:r>
                      <a:r>
                        <a:rPr lang="en-US" sz="800" b="1" i="0">
                          <a:solidFill>
                            <a:schemeClr val="bg1"/>
                          </a:solidFill>
                          <a:latin typeface="+mj-lt"/>
                        </a:rPr>
                        <a:t>Vs. 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rPr dirty="0"/>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rPr dirty="0"/>
                        <a:t>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helf </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Price</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Unit</a:t>
            </a:r>
          </a:p>
          <a:p>
            <a:pPr marL="0" marR="0" lvl="0" indent="0" defTabSz="685749"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Nexa Bold" panose="00000800000000000000" pitchFamily="2" charset="0"/>
              </a:rPr>
              <a:t>(</a:t>
            </a:r>
            <a:r>
              <a:rPr lang="en-US" sz="800" dirty="0">
                <a:solidFill>
                  <a:schemeClr val="tx1"/>
                </a:solidFill>
                <a:highlight>
                  <a:srgbClr val="FFFF00"/>
                </a:highlight>
                <a:latin typeface="Nexa Bold" panose="00000800000000000000" pitchFamily="2" charset="0"/>
              </a:rPr>
              <a:t>€</a:t>
            </a:r>
            <a:r>
              <a:rPr lang="en-US" sz="800" dirty="0">
                <a:solidFill>
                  <a:schemeClr val="tx1"/>
                </a:solidFill>
                <a:latin typeface="Nexa Bold" panose="00000800000000000000" pitchFamily="2" charset="0"/>
              </a:rPr>
              <a:t>)</a:t>
            </a:r>
            <a:endPar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endParaRP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Value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ales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M)</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8/11/2025</a:t>
            </a:fld>
            <a:endParaRPr lang="en-US" sz="500"/>
          </a:p>
        </p:txBody>
      </p:sp>
    </p:spTree>
    <p:extLst>
      <p:ext uri="{BB962C8B-B14F-4D97-AF65-F5344CB8AC3E}">
        <p14:creationId xmlns:p14="http://schemas.microsoft.com/office/powerpoint/2010/main" val="53200065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r>
              <a:rPr lang="en-US" dirty="0"/>
              <a:t>Inter-size Discount  | </a:t>
            </a:r>
            <a:r>
              <a:rPr lang="en-US" dirty="0">
                <a:highlight>
                  <a:srgbClr val="FFFF00"/>
                </a:highlight>
              </a:rPr>
              <a:t>Variant</a:t>
            </a:r>
            <a:r>
              <a:rPr lang="en-US" dirty="0"/>
              <a:t> | </a:t>
            </a:r>
            <a:r>
              <a:rPr lang="en-US" dirty="0">
                <a:highlight>
                  <a:srgbClr val="FFFF00"/>
                </a:highlight>
              </a:rPr>
              <a:t>National</a:t>
            </a:r>
            <a:r>
              <a:rPr lang="en-US" dirty="0"/>
              <a:t> | P12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2800073758"/>
              </p:ext>
            </p:extLst>
          </p:nvPr>
        </p:nvGraphicFramePr>
        <p:xfrm>
          <a:off x="555229" y="4265104"/>
          <a:ext cx="7441138"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95492">
                  <a:extLst>
                    <a:ext uri="{9D8B030D-6E8A-4147-A177-3AD203B41FA5}">
                      <a16:colId xmlns:a16="http://schemas.microsoft.com/office/drawing/2014/main" val="2253286919"/>
                    </a:ext>
                  </a:extLst>
                </a:gridCol>
                <a:gridCol w="295492">
                  <a:extLst>
                    <a:ext uri="{9D8B030D-6E8A-4147-A177-3AD203B41FA5}">
                      <a16:colId xmlns:a16="http://schemas.microsoft.com/office/drawing/2014/main" val="2739285047"/>
                    </a:ext>
                  </a:extLst>
                </a:gridCol>
                <a:gridCol w="295492">
                  <a:extLst>
                    <a:ext uri="{9D8B030D-6E8A-4147-A177-3AD203B41FA5}">
                      <a16:colId xmlns:a16="http://schemas.microsoft.com/office/drawing/2014/main" val="686050863"/>
                    </a:ext>
                  </a:extLst>
                </a:gridCol>
                <a:gridCol w="295492">
                  <a:extLst>
                    <a:ext uri="{9D8B030D-6E8A-4147-A177-3AD203B41FA5}">
                      <a16:colId xmlns:a16="http://schemas.microsoft.com/office/drawing/2014/main" val="3765127706"/>
                    </a:ext>
                  </a:extLst>
                </a:gridCol>
                <a:gridCol w="295492">
                  <a:extLst>
                    <a:ext uri="{9D8B030D-6E8A-4147-A177-3AD203B41FA5}">
                      <a16:colId xmlns:a16="http://schemas.microsoft.com/office/drawing/2014/main" val="273303937"/>
                    </a:ext>
                  </a:extLst>
                </a:gridCol>
                <a:gridCol w="295492">
                  <a:extLst>
                    <a:ext uri="{9D8B030D-6E8A-4147-A177-3AD203B41FA5}">
                      <a16:colId xmlns:a16="http://schemas.microsoft.com/office/drawing/2014/main" val="1190134658"/>
                    </a:ext>
                  </a:extLst>
                </a:gridCol>
                <a:gridCol w="295492">
                  <a:extLst>
                    <a:ext uri="{9D8B030D-6E8A-4147-A177-3AD203B41FA5}">
                      <a16:colId xmlns:a16="http://schemas.microsoft.com/office/drawing/2014/main" val="1152288185"/>
                    </a:ext>
                  </a:extLst>
                </a:gridCol>
                <a:gridCol w="295492">
                  <a:extLst>
                    <a:ext uri="{9D8B030D-6E8A-4147-A177-3AD203B41FA5}">
                      <a16:colId xmlns:a16="http://schemas.microsoft.com/office/drawing/2014/main" val="1888319813"/>
                    </a:ext>
                  </a:extLst>
                </a:gridCol>
                <a:gridCol w="295492">
                  <a:extLst>
                    <a:ext uri="{9D8B030D-6E8A-4147-A177-3AD203B41FA5}">
                      <a16:colId xmlns:a16="http://schemas.microsoft.com/office/drawing/2014/main" val="3471064540"/>
                    </a:ext>
                  </a:extLst>
                </a:gridCol>
                <a:gridCol w="295492">
                  <a:extLst>
                    <a:ext uri="{9D8B030D-6E8A-4147-A177-3AD203B41FA5}">
                      <a16:colId xmlns:a16="http://schemas.microsoft.com/office/drawing/2014/main" val="670551899"/>
                    </a:ext>
                  </a:extLst>
                </a:gridCol>
                <a:gridCol w="295492">
                  <a:extLst>
                    <a:ext uri="{9D8B030D-6E8A-4147-A177-3AD203B41FA5}">
                      <a16:colId xmlns:a16="http://schemas.microsoft.com/office/drawing/2014/main" val="1100152168"/>
                    </a:ext>
                  </a:extLst>
                </a:gridCol>
                <a:gridCol w="295492">
                  <a:extLst>
                    <a:ext uri="{9D8B030D-6E8A-4147-A177-3AD203B41FA5}">
                      <a16:colId xmlns:a16="http://schemas.microsoft.com/office/drawing/2014/main" val="2165801595"/>
                    </a:ext>
                  </a:extLst>
                </a:gridCol>
                <a:gridCol w="295492">
                  <a:extLst>
                    <a:ext uri="{9D8B030D-6E8A-4147-A177-3AD203B41FA5}">
                      <a16:colId xmlns:a16="http://schemas.microsoft.com/office/drawing/2014/main" val="3981167565"/>
                    </a:ext>
                  </a:extLst>
                </a:gridCol>
                <a:gridCol w="295492">
                  <a:extLst>
                    <a:ext uri="{9D8B030D-6E8A-4147-A177-3AD203B41FA5}">
                      <a16:colId xmlns:a16="http://schemas.microsoft.com/office/drawing/2014/main" val="2740792325"/>
                    </a:ext>
                  </a:extLst>
                </a:gridCol>
                <a:gridCol w="295492">
                  <a:extLst>
                    <a:ext uri="{9D8B030D-6E8A-4147-A177-3AD203B41FA5}">
                      <a16:colId xmlns:a16="http://schemas.microsoft.com/office/drawing/2014/main" val="54782936"/>
                    </a:ext>
                  </a:extLst>
                </a:gridCol>
                <a:gridCol w="295492">
                  <a:extLst>
                    <a:ext uri="{9D8B030D-6E8A-4147-A177-3AD203B41FA5}">
                      <a16:colId xmlns:a16="http://schemas.microsoft.com/office/drawing/2014/main" val="154020430"/>
                    </a:ext>
                  </a:extLst>
                </a:gridCol>
                <a:gridCol w="295492">
                  <a:extLst>
                    <a:ext uri="{9D8B030D-6E8A-4147-A177-3AD203B41FA5}">
                      <a16:colId xmlns:a16="http://schemas.microsoft.com/office/drawing/2014/main" val="3928813835"/>
                    </a:ext>
                  </a:extLst>
                </a:gridCol>
                <a:gridCol w="295492">
                  <a:extLst>
                    <a:ext uri="{9D8B030D-6E8A-4147-A177-3AD203B41FA5}">
                      <a16:colId xmlns:a16="http://schemas.microsoft.com/office/drawing/2014/main" val="4210253042"/>
                    </a:ext>
                  </a:extLst>
                </a:gridCol>
                <a:gridCol w="295492">
                  <a:extLst>
                    <a:ext uri="{9D8B030D-6E8A-4147-A177-3AD203B41FA5}">
                      <a16:colId xmlns:a16="http://schemas.microsoft.com/office/drawing/2014/main" val="895787419"/>
                    </a:ext>
                  </a:extLst>
                </a:gridCol>
                <a:gridCol w="295492">
                  <a:extLst>
                    <a:ext uri="{9D8B030D-6E8A-4147-A177-3AD203B41FA5}">
                      <a16:colId xmlns:a16="http://schemas.microsoft.com/office/drawing/2014/main" val="3828388578"/>
                    </a:ext>
                  </a:extLst>
                </a:gridCol>
                <a:gridCol w="295492">
                  <a:extLst>
                    <a:ext uri="{9D8B030D-6E8A-4147-A177-3AD203B41FA5}">
                      <a16:colId xmlns:a16="http://schemas.microsoft.com/office/drawing/2014/main" val="742550205"/>
                    </a:ext>
                  </a:extLst>
                </a:gridCol>
                <a:gridCol w="295492">
                  <a:extLst>
                    <a:ext uri="{9D8B030D-6E8A-4147-A177-3AD203B41FA5}">
                      <a16:colId xmlns:a16="http://schemas.microsoft.com/office/drawing/2014/main" val="1408879461"/>
                    </a:ext>
                  </a:extLst>
                </a:gridCol>
              </a:tblGrid>
              <a:tr h="251292">
                <a:tc>
                  <a:txBody>
                    <a:bodyPr/>
                    <a:lstStyle/>
                    <a:p>
                      <a:r>
                        <a:rPr lang="en-US" sz="800" b="1" i="0" dirty="0">
                          <a:solidFill>
                            <a:schemeClr val="bg1"/>
                          </a:solidFill>
                          <a:latin typeface="+mj-lt"/>
                        </a:rPr>
                        <a:t>Sales </a:t>
                      </a:r>
                      <a:r>
                        <a:rPr lang="en-US" sz="800" b="1" i="0">
                          <a:solidFill>
                            <a:schemeClr val="bg1"/>
                          </a:solidFill>
                          <a:latin typeface="+mj-lt"/>
                        </a:rPr>
                        <a:t>Vs. 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rPr dirty="0"/>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rPr dirty="0"/>
                        <a:t>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helf </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Price</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Unit</a:t>
            </a:r>
          </a:p>
          <a:p>
            <a:pPr marL="0" marR="0" lvl="0" indent="0" defTabSz="685749"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Nexa Bold" panose="00000800000000000000" pitchFamily="2" charset="0"/>
              </a:rPr>
              <a:t>(</a:t>
            </a:r>
            <a:r>
              <a:rPr lang="en-US" sz="800" dirty="0">
                <a:solidFill>
                  <a:schemeClr val="tx1"/>
                </a:solidFill>
                <a:highlight>
                  <a:srgbClr val="FFFF00"/>
                </a:highlight>
                <a:latin typeface="Nexa Bold" panose="00000800000000000000" pitchFamily="2" charset="0"/>
              </a:rPr>
              <a:t>€</a:t>
            </a:r>
            <a:r>
              <a:rPr lang="en-US" sz="800" dirty="0">
                <a:solidFill>
                  <a:schemeClr val="tx1"/>
                </a:solidFill>
                <a:latin typeface="Nexa Bold" panose="00000800000000000000" pitchFamily="2" charset="0"/>
              </a:rPr>
              <a:t>)</a:t>
            </a:r>
            <a:endPar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endParaRP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Value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ales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M)</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8/11/2025</a:t>
            </a:fld>
            <a:endParaRPr lang="en-US" sz="500"/>
          </a:p>
        </p:txBody>
      </p:sp>
    </p:spTree>
    <p:extLst>
      <p:ext uri="{BB962C8B-B14F-4D97-AF65-F5344CB8AC3E}">
        <p14:creationId xmlns:p14="http://schemas.microsoft.com/office/powerpoint/2010/main" val="220722316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r>
              <a:rPr lang="en-US" dirty="0"/>
              <a:t>Inter-size Discount  | </a:t>
            </a:r>
            <a:r>
              <a:rPr lang="en-US" dirty="0">
                <a:highlight>
                  <a:srgbClr val="FFFF00"/>
                </a:highlight>
              </a:rPr>
              <a:t>Variant</a:t>
            </a:r>
            <a:r>
              <a:rPr lang="en-US" dirty="0"/>
              <a:t> | </a:t>
            </a:r>
            <a:r>
              <a:rPr lang="en-US" dirty="0">
                <a:highlight>
                  <a:srgbClr val="FFFF00"/>
                </a:highlight>
              </a:rPr>
              <a:t>National</a:t>
            </a:r>
            <a:r>
              <a:rPr lang="en-US" dirty="0"/>
              <a:t> | P12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2800073758"/>
              </p:ext>
            </p:extLst>
          </p:nvPr>
        </p:nvGraphicFramePr>
        <p:xfrm>
          <a:off x="555229" y="4265104"/>
          <a:ext cx="7441138"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95492">
                  <a:extLst>
                    <a:ext uri="{9D8B030D-6E8A-4147-A177-3AD203B41FA5}">
                      <a16:colId xmlns:a16="http://schemas.microsoft.com/office/drawing/2014/main" val="2253286919"/>
                    </a:ext>
                  </a:extLst>
                </a:gridCol>
                <a:gridCol w="295492">
                  <a:extLst>
                    <a:ext uri="{9D8B030D-6E8A-4147-A177-3AD203B41FA5}">
                      <a16:colId xmlns:a16="http://schemas.microsoft.com/office/drawing/2014/main" val="2739285047"/>
                    </a:ext>
                  </a:extLst>
                </a:gridCol>
                <a:gridCol w="295492">
                  <a:extLst>
                    <a:ext uri="{9D8B030D-6E8A-4147-A177-3AD203B41FA5}">
                      <a16:colId xmlns:a16="http://schemas.microsoft.com/office/drawing/2014/main" val="686050863"/>
                    </a:ext>
                  </a:extLst>
                </a:gridCol>
                <a:gridCol w="295492">
                  <a:extLst>
                    <a:ext uri="{9D8B030D-6E8A-4147-A177-3AD203B41FA5}">
                      <a16:colId xmlns:a16="http://schemas.microsoft.com/office/drawing/2014/main" val="3765127706"/>
                    </a:ext>
                  </a:extLst>
                </a:gridCol>
                <a:gridCol w="295492">
                  <a:extLst>
                    <a:ext uri="{9D8B030D-6E8A-4147-A177-3AD203B41FA5}">
                      <a16:colId xmlns:a16="http://schemas.microsoft.com/office/drawing/2014/main" val="273303937"/>
                    </a:ext>
                  </a:extLst>
                </a:gridCol>
                <a:gridCol w="295492">
                  <a:extLst>
                    <a:ext uri="{9D8B030D-6E8A-4147-A177-3AD203B41FA5}">
                      <a16:colId xmlns:a16="http://schemas.microsoft.com/office/drawing/2014/main" val="1190134658"/>
                    </a:ext>
                  </a:extLst>
                </a:gridCol>
                <a:gridCol w="295492">
                  <a:extLst>
                    <a:ext uri="{9D8B030D-6E8A-4147-A177-3AD203B41FA5}">
                      <a16:colId xmlns:a16="http://schemas.microsoft.com/office/drawing/2014/main" val="1152288185"/>
                    </a:ext>
                  </a:extLst>
                </a:gridCol>
                <a:gridCol w="295492">
                  <a:extLst>
                    <a:ext uri="{9D8B030D-6E8A-4147-A177-3AD203B41FA5}">
                      <a16:colId xmlns:a16="http://schemas.microsoft.com/office/drawing/2014/main" val="1888319813"/>
                    </a:ext>
                  </a:extLst>
                </a:gridCol>
                <a:gridCol w="295492">
                  <a:extLst>
                    <a:ext uri="{9D8B030D-6E8A-4147-A177-3AD203B41FA5}">
                      <a16:colId xmlns:a16="http://schemas.microsoft.com/office/drawing/2014/main" val="3471064540"/>
                    </a:ext>
                  </a:extLst>
                </a:gridCol>
                <a:gridCol w="295492">
                  <a:extLst>
                    <a:ext uri="{9D8B030D-6E8A-4147-A177-3AD203B41FA5}">
                      <a16:colId xmlns:a16="http://schemas.microsoft.com/office/drawing/2014/main" val="670551899"/>
                    </a:ext>
                  </a:extLst>
                </a:gridCol>
                <a:gridCol w="295492">
                  <a:extLst>
                    <a:ext uri="{9D8B030D-6E8A-4147-A177-3AD203B41FA5}">
                      <a16:colId xmlns:a16="http://schemas.microsoft.com/office/drawing/2014/main" val="1100152168"/>
                    </a:ext>
                  </a:extLst>
                </a:gridCol>
                <a:gridCol w="295492">
                  <a:extLst>
                    <a:ext uri="{9D8B030D-6E8A-4147-A177-3AD203B41FA5}">
                      <a16:colId xmlns:a16="http://schemas.microsoft.com/office/drawing/2014/main" val="2165801595"/>
                    </a:ext>
                  </a:extLst>
                </a:gridCol>
                <a:gridCol w="295492">
                  <a:extLst>
                    <a:ext uri="{9D8B030D-6E8A-4147-A177-3AD203B41FA5}">
                      <a16:colId xmlns:a16="http://schemas.microsoft.com/office/drawing/2014/main" val="3981167565"/>
                    </a:ext>
                  </a:extLst>
                </a:gridCol>
                <a:gridCol w="295492">
                  <a:extLst>
                    <a:ext uri="{9D8B030D-6E8A-4147-A177-3AD203B41FA5}">
                      <a16:colId xmlns:a16="http://schemas.microsoft.com/office/drawing/2014/main" val="2740792325"/>
                    </a:ext>
                  </a:extLst>
                </a:gridCol>
                <a:gridCol w="295492">
                  <a:extLst>
                    <a:ext uri="{9D8B030D-6E8A-4147-A177-3AD203B41FA5}">
                      <a16:colId xmlns:a16="http://schemas.microsoft.com/office/drawing/2014/main" val="54782936"/>
                    </a:ext>
                  </a:extLst>
                </a:gridCol>
                <a:gridCol w="295492">
                  <a:extLst>
                    <a:ext uri="{9D8B030D-6E8A-4147-A177-3AD203B41FA5}">
                      <a16:colId xmlns:a16="http://schemas.microsoft.com/office/drawing/2014/main" val="154020430"/>
                    </a:ext>
                  </a:extLst>
                </a:gridCol>
                <a:gridCol w="295492">
                  <a:extLst>
                    <a:ext uri="{9D8B030D-6E8A-4147-A177-3AD203B41FA5}">
                      <a16:colId xmlns:a16="http://schemas.microsoft.com/office/drawing/2014/main" val="3928813835"/>
                    </a:ext>
                  </a:extLst>
                </a:gridCol>
                <a:gridCol w="295492">
                  <a:extLst>
                    <a:ext uri="{9D8B030D-6E8A-4147-A177-3AD203B41FA5}">
                      <a16:colId xmlns:a16="http://schemas.microsoft.com/office/drawing/2014/main" val="4210253042"/>
                    </a:ext>
                  </a:extLst>
                </a:gridCol>
                <a:gridCol w="295492">
                  <a:extLst>
                    <a:ext uri="{9D8B030D-6E8A-4147-A177-3AD203B41FA5}">
                      <a16:colId xmlns:a16="http://schemas.microsoft.com/office/drawing/2014/main" val="895787419"/>
                    </a:ext>
                  </a:extLst>
                </a:gridCol>
                <a:gridCol w="295492">
                  <a:extLst>
                    <a:ext uri="{9D8B030D-6E8A-4147-A177-3AD203B41FA5}">
                      <a16:colId xmlns:a16="http://schemas.microsoft.com/office/drawing/2014/main" val="3828388578"/>
                    </a:ext>
                  </a:extLst>
                </a:gridCol>
                <a:gridCol w="295492">
                  <a:extLst>
                    <a:ext uri="{9D8B030D-6E8A-4147-A177-3AD203B41FA5}">
                      <a16:colId xmlns:a16="http://schemas.microsoft.com/office/drawing/2014/main" val="742550205"/>
                    </a:ext>
                  </a:extLst>
                </a:gridCol>
                <a:gridCol w="295492">
                  <a:extLst>
                    <a:ext uri="{9D8B030D-6E8A-4147-A177-3AD203B41FA5}">
                      <a16:colId xmlns:a16="http://schemas.microsoft.com/office/drawing/2014/main" val="1408879461"/>
                    </a:ext>
                  </a:extLst>
                </a:gridCol>
              </a:tblGrid>
              <a:tr h="251292">
                <a:tc>
                  <a:txBody>
                    <a:bodyPr/>
                    <a:lstStyle/>
                    <a:p>
                      <a:r>
                        <a:rPr lang="en-US" sz="800" b="1" i="0" dirty="0">
                          <a:solidFill>
                            <a:schemeClr val="bg1"/>
                          </a:solidFill>
                          <a:latin typeface="+mj-lt"/>
                        </a:rPr>
                        <a:t>Sales </a:t>
                      </a:r>
                      <a:r>
                        <a:rPr lang="en-US" sz="800" b="1" i="0">
                          <a:solidFill>
                            <a:schemeClr val="bg1"/>
                          </a:solidFill>
                          <a:latin typeface="+mj-lt"/>
                        </a:rPr>
                        <a:t>Vs. 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rPr dirty="0"/>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rPr dirty="0"/>
                        <a:t>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helf </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Price</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Unit</a:t>
            </a:r>
          </a:p>
          <a:p>
            <a:pPr marL="0" marR="0" lvl="0" indent="0" defTabSz="685749"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Nexa Bold" panose="00000800000000000000" pitchFamily="2" charset="0"/>
              </a:rPr>
              <a:t>(</a:t>
            </a:r>
            <a:r>
              <a:rPr lang="en-US" sz="800" dirty="0">
                <a:solidFill>
                  <a:schemeClr val="tx1"/>
                </a:solidFill>
                <a:highlight>
                  <a:srgbClr val="FFFF00"/>
                </a:highlight>
                <a:latin typeface="Nexa Bold" panose="00000800000000000000" pitchFamily="2" charset="0"/>
              </a:rPr>
              <a:t>€</a:t>
            </a:r>
            <a:r>
              <a:rPr lang="en-US" sz="800" dirty="0">
                <a:solidFill>
                  <a:schemeClr val="tx1"/>
                </a:solidFill>
                <a:latin typeface="Nexa Bold" panose="00000800000000000000" pitchFamily="2" charset="0"/>
              </a:rPr>
              <a:t>)</a:t>
            </a:r>
            <a:endPar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endParaRP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Value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ales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M)</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8/11/2025</a:t>
            </a:fld>
            <a:endParaRPr lang="en-US" sz="500"/>
          </a:p>
        </p:txBody>
      </p:sp>
    </p:spTree>
    <p:extLst>
      <p:ext uri="{BB962C8B-B14F-4D97-AF65-F5344CB8AC3E}">
        <p14:creationId xmlns:p14="http://schemas.microsoft.com/office/powerpoint/2010/main" val="420077635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r>
              <a:rPr lang="en-US" dirty="0"/>
              <a:t>Inter-size Discount  | </a:t>
            </a:r>
            <a:r>
              <a:rPr lang="en-US" dirty="0">
                <a:highlight>
                  <a:srgbClr val="FFFF00"/>
                </a:highlight>
              </a:rPr>
              <a:t>Variant</a:t>
            </a:r>
            <a:r>
              <a:rPr lang="en-US" dirty="0"/>
              <a:t> | </a:t>
            </a:r>
            <a:r>
              <a:rPr lang="en-US" dirty="0">
                <a:highlight>
                  <a:srgbClr val="FFFF00"/>
                </a:highlight>
              </a:rPr>
              <a:t>National</a:t>
            </a:r>
            <a:r>
              <a:rPr lang="en-US" dirty="0"/>
              <a:t> | P12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2800073758"/>
              </p:ext>
            </p:extLst>
          </p:nvPr>
        </p:nvGraphicFramePr>
        <p:xfrm>
          <a:off x="555229" y="4265104"/>
          <a:ext cx="7441138"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95492">
                  <a:extLst>
                    <a:ext uri="{9D8B030D-6E8A-4147-A177-3AD203B41FA5}">
                      <a16:colId xmlns:a16="http://schemas.microsoft.com/office/drawing/2014/main" val="2253286919"/>
                    </a:ext>
                  </a:extLst>
                </a:gridCol>
                <a:gridCol w="295492">
                  <a:extLst>
                    <a:ext uri="{9D8B030D-6E8A-4147-A177-3AD203B41FA5}">
                      <a16:colId xmlns:a16="http://schemas.microsoft.com/office/drawing/2014/main" val="2739285047"/>
                    </a:ext>
                  </a:extLst>
                </a:gridCol>
                <a:gridCol w="295492">
                  <a:extLst>
                    <a:ext uri="{9D8B030D-6E8A-4147-A177-3AD203B41FA5}">
                      <a16:colId xmlns:a16="http://schemas.microsoft.com/office/drawing/2014/main" val="686050863"/>
                    </a:ext>
                  </a:extLst>
                </a:gridCol>
                <a:gridCol w="295492">
                  <a:extLst>
                    <a:ext uri="{9D8B030D-6E8A-4147-A177-3AD203B41FA5}">
                      <a16:colId xmlns:a16="http://schemas.microsoft.com/office/drawing/2014/main" val="3765127706"/>
                    </a:ext>
                  </a:extLst>
                </a:gridCol>
                <a:gridCol w="295492">
                  <a:extLst>
                    <a:ext uri="{9D8B030D-6E8A-4147-A177-3AD203B41FA5}">
                      <a16:colId xmlns:a16="http://schemas.microsoft.com/office/drawing/2014/main" val="273303937"/>
                    </a:ext>
                  </a:extLst>
                </a:gridCol>
                <a:gridCol w="295492">
                  <a:extLst>
                    <a:ext uri="{9D8B030D-6E8A-4147-A177-3AD203B41FA5}">
                      <a16:colId xmlns:a16="http://schemas.microsoft.com/office/drawing/2014/main" val="1190134658"/>
                    </a:ext>
                  </a:extLst>
                </a:gridCol>
                <a:gridCol w="295492">
                  <a:extLst>
                    <a:ext uri="{9D8B030D-6E8A-4147-A177-3AD203B41FA5}">
                      <a16:colId xmlns:a16="http://schemas.microsoft.com/office/drawing/2014/main" val="1152288185"/>
                    </a:ext>
                  </a:extLst>
                </a:gridCol>
                <a:gridCol w="295492">
                  <a:extLst>
                    <a:ext uri="{9D8B030D-6E8A-4147-A177-3AD203B41FA5}">
                      <a16:colId xmlns:a16="http://schemas.microsoft.com/office/drawing/2014/main" val="1888319813"/>
                    </a:ext>
                  </a:extLst>
                </a:gridCol>
                <a:gridCol w="295492">
                  <a:extLst>
                    <a:ext uri="{9D8B030D-6E8A-4147-A177-3AD203B41FA5}">
                      <a16:colId xmlns:a16="http://schemas.microsoft.com/office/drawing/2014/main" val="3471064540"/>
                    </a:ext>
                  </a:extLst>
                </a:gridCol>
                <a:gridCol w="295492">
                  <a:extLst>
                    <a:ext uri="{9D8B030D-6E8A-4147-A177-3AD203B41FA5}">
                      <a16:colId xmlns:a16="http://schemas.microsoft.com/office/drawing/2014/main" val="670551899"/>
                    </a:ext>
                  </a:extLst>
                </a:gridCol>
                <a:gridCol w="295492">
                  <a:extLst>
                    <a:ext uri="{9D8B030D-6E8A-4147-A177-3AD203B41FA5}">
                      <a16:colId xmlns:a16="http://schemas.microsoft.com/office/drawing/2014/main" val="1100152168"/>
                    </a:ext>
                  </a:extLst>
                </a:gridCol>
                <a:gridCol w="295492">
                  <a:extLst>
                    <a:ext uri="{9D8B030D-6E8A-4147-A177-3AD203B41FA5}">
                      <a16:colId xmlns:a16="http://schemas.microsoft.com/office/drawing/2014/main" val="2165801595"/>
                    </a:ext>
                  </a:extLst>
                </a:gridCol>
                <a:gridCol w="295492">
                  <a:extLst>
                    <a:ext uri="{9D8B030D-6E8A-4147-A177-3AD203B41FA5}">
                      <a16:colId xmlns:a16="http://schemas.microsoft.com/office/drawing/2014/main" val="3981167565"/>
                    </a:ext>
                  </a:extLst>
                </a:gridCol>
                <a:gridCol w="295492">
                  <a:extLst>
                    <a:ext uri="{9D8B030D-6E8A-4147-A177-3AD203B41FA5}">
                      <a16:colId xmlns:a16="http://schemas.microsoft.com/office/drawing/2014/main" val="2740792325"/>
                    </a:ext>
                  </a:extLst>
                </a:gridCol>
                <a:gridCol w="295492">
                  <a:extLst>
                    <a:ext uri="{9D8B030D-6E8A-4147-A177-3AD203B41FA5}">
                      <a16:colId xmlns:a16="http://schemas.microsoft.com/office/drawing/2014/main" val="54782936"/>
                    </a:ext>
                  </a:extLst>
                </a:gridCol>
                <a:gridCol w="295492">
                  <a:extLst>
                    <a:ext uri="{9D8B030D-6E8A-4147-A177-3AD203B41FA5}">
                      <a16:colId xmlns:a16="http://schemas.microsoft.com/office/drawing/2014/main" val="154020430"/>
                    </a:ext>
                  </a:extLst>
                </a:gridCol>
                <a:gridCol w="295492">
                  <a:extLst>
                    <a:ext uri="{9D8B030D-6E8A-4147-A177-3AD203B41FA5}">
                      <a16:colId xmlns:a16="http://schemas.microsoft.com/office/drawing/2014/main" val="3928813835"/>
                    </a:ext>
                  </a:extLst>
                </a:gridCol>
                <a:gridCol w="295492">
                  <a:extLst>
                    <a:ext uri="{9D8B030D-6E8A-4147-A177-3AD203B41FA5}">
                      <a16:colId xmlns:a16="http://schemas.microsoft.com/office/drawing/2014/main" val="4210253042"/>
                    </a:ext>
                  </a:extLst>
                </a:gridCol>
                <a:gridCol w="295492">
                  <a:extLst>
                    <a:ext uri="{9D8B030D-6E8A-4147-A177-3AD203B41FA5}">
                      <a16:colId xmlns:a16="http://schemas.microsoft.com/office/drawing/2014/main" val="895787419"/>
                    </a:ext>
                  </a:extLst>
                </a:gridCol>
                <a:gridCol w="295492">
                  <a:extLst>
                    <a:ext uri="{9D8B030D-6E8A-4147-A177-3AD203B41FA5}">
                      <a16:colId xmlns:a16="http://schemas.microsoft.com/office/drawing/2014/main" val="3828388578"/>
                    </a:ext>
                  </a:extLst>
                </a:gridCol>
                <a:gridCol w="295492">
                  <a:extLst>
                    <a:ext uri="{9D8B030D-6E8A-4147-A177-3AD203B41FA5}">
                      <a16:colId xmlns:a16="http://schemas.microsoft.com/office/drawing/2014/main" val="742550205"/>
                    </a:ext>
                  </a:extLst>
                </a:gridCol>
                <a:gridCol w="295492">
                  <a:extLst>
                    <a:ext uri="{9D8B030D-6E8A-4147-A177-3AD203B41FA5}">
                      <a16:colId xmlns:a16="http://schemas.microsoft.com/office/drawing/2014/main" val="1408879461"/>
                    </a:ext>
                  </a:extLst>
                </a:gridCol>
              </a:tblGrid>
              <a:tr h="251292">
                <a:tc>
                  <a:txBody>
                    <a:bodyPr/>
                    <a:lstStyle/>
                    <a:p>
                      <a:r>
                        <a:rPr lang="en-US" sz="800" b="1" i="0" dirty="0">
                          <a:solidFill>
                            <a:schemeClr val="bg1"/>
                          </a:solidFill>
                          <a:latin typeface="+mj-lt"/>
                        </a:rPr>
                        <a:t>Sales </a:t>
                      </a:r>
                      <a:r>
                        <a:rPr lang="en-US" sz="800" b="1" i="0">
                          <a:solidFill>
                            <a:schemeClr val="bg1"/>
                          </a:solidFill>
                          <a:latin typeface="+mj-lt"/>
                        </a:rPr>
                        <a:t>Vs. 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rPr dirty="0"/>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rPr dirty="0"/>
                        <a:t>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helf </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Price</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Unit</a:t>
            </a:r>
          </a:p>
          <a:p>
            <a:pPr marL="0" marR="0" lvl="0" indent="0" defTabSz="685749"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Nexa Bold" panose="00000800000000000000" pitchFamily="2" charset="0"/>
              </a:rPr>
              <a:t>(</a:t>
            </a:r>
            <a:r>
              <a:rPr lang="en-US" sz="800" dirty="0">
                <a:solidFill>
                  <a:schemeClr val="tx1"/>
                </a:solidFill>
                <a:highlight>
                  <a:srgbClr val="FFFF00"/>
                </a:highlight>
                <a:latin typeface="Nexa Bold" panose="00000800000000000000" pitchFamily="2" charset="0"/>
              </a:rPr>
              <a:t>€</a:t>
            </a:r>
            <a:r>
              <a:rPr lang="en-US" sz="800" dirty="0">
                <a:solidFill>
                  <a:schemeClr val="tx1"/>
                </a:solidFill>
                <a:latin typeface="Nexa Bold" panose="00000800000000000000" pitchFamily="2" charset="0"/>
              </a:rPr>
              <a:t>)</a:t>
            </a:r>
            <a:endPar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endParaRP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Value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ales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M)</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8/11/2025</a:t>
            </a:fld>
            <a:endParaRPr lang="en-US" sz="500"/>
          </a:p>
        </p:txBody>
      </p:sp>
    </p:spTree>
    <p:extLst>
      <p:ext uri="{BB962C8B-B14F-4D97-AF65-F5344CB8AC3E}">
        <p14:creationId xmlns:p14="http://schemas.microsoft.com/office/powerpoint/2010/main" val="296507559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r>
              <a:rPr lang="en-US" dirty="0"/>
              <a:t>Inter-size Discount  | </a:t>
            </a:r>
            <a:r>
              <a:rPr lang="en-US" dirty="0">
                <a:highlight>
                  <a:srgbClr val="FFFF00"/>
                </a:highlight>
              </a:rPr>
              <a:t>Variant</a:t>
            </a:r>
            <a:r>
              <a:rPr lang="en-US" dirty="0"/>
              <a:t> | </a:t>
            </a:r>
            <a:r>
              <a:rPr lang="en-US" dirty="0">
                <a:highlight>
                  <a:srgbClr val="FFFF00"/>
                </a:highlight>
              </a:rPr>
              <a:t>National</a:t>
            </a:r>
            <a:r>
              <a:rPr lang="en-US" dirty="0"/>
              <a:t> | P12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2800073758"/>
              </p:ext>
            </p:extLst>
          </p:nvPr>
        </p:nvGraphicFramePr>
        <p:xfrm>
          <a:off x="555229" y="4265104"/>
          <a:ext cx="7441138"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95492">
                  <a:extLst>
                    <a:ext uri="{9D8B030D-6E8A-4147-A177-3AD203B41FA5}">
                      <a16:colId xmlns:a16="http://schemas.microsoft.com/office/drawing/2014/main" val="2253286919"/>
                    </a:ext>
                  </a:extLst>
                </a:gridCol>
                <a:gridCol w="295492">
                  <a:extLst>
                    <a:ext uri="{9D8B030D-6E8A-4147-A177-3AD203B41FA5}">
                      <a16:colId xmlns:a16="http://schemas.microsoft.com/office/drawing/2014/main" val="2739285047"/>
                    </a:ext>
                  </a:extLst>
                </a:gridCol>
                <a:gridCol w="295492">
                  <a:extLst>
                    <a:ext uri="{9D8B030D-6E8A-4147-A177-3AD203B41FA5}">
                      <a16:colId xmlns:a16="http://schemas.microsoft.com/office/drawing/2014/main" val="686050863"/>
                    </a:ext>
                  </a:extLst>
                </a:gridCol>
                <a:gridCol w="295492">
                  <a:extLst>
                    <a:ext uri="{9D8B030D-6E8A-4147-A177-3AD203B41FA5}">
                      <a16:colId xmlns:a16="http://schemas.microsoft.com/office/drawing/2014/main" val="3765127706"/>
                    </a:ext>
                  </a:extLst>
                </a:gridCol>
                <a:gridCol w="295492">
                  <a:extLst>
                    <a:ext uri="{9D8B030D-6E8A-4147-A177-3AD203B41FA5}">
                      <a16:colId xmlns:a16="http://schemas.microsoft.com/office/drawing/2014/main" val="273303937"/>
                    </a:ext>
                  </a:extLst>
                </a:gridCol>
                <a:gridCol w="295492">
                  <a:extLst>
                    <a:ext uri="{9D8B030D-6E8A-4147-A177-3AD203B41FA5}">
                      <a16:colId xmlns:a16="http://schemas.microsoft.com/office/drawing/2014/main" val="1190134658"/>
                    </a:ext>
                  </a:extLst>
                </a:gridCol>
                <a:gridCol w="295492">
                  <a:extLst>
                    <a:ext uri="{9D8B030D-6E8A-4147-A177-3AD203B41FA5}">
                      <a16:colId xmlns:a16="http://schemas.microsoft.com/office/drawing/2014/main" val="1152288185"/>
                    </a:ext>
                  </a:extLst>
                </a:gridCol>
                <a:gridCol w="295492">
                  <a:extLst>
                    <a:ext uri="{9D8B030D-6E8A-4147-A177-3AD203B41FA5}">
                      <a16:colId xmlns:a16="http://schemas.microsoft.com/office/drawing/2014/main" val="1888319813"/>
                    </a:ext>
                  </a:extLst>
                </a:gridCol>
                <a:gridCol w="295492">
                  <a:extLst>
                    <a:ext uri="{9D8B030D-6E8A-4147-A177-3AD203B41FA5}">
                      <a16:colId xmlns:a16="http://schemas.microsoft.com/office/drawing/2014/main" val="3471064540"/>
                    </a:ext>
                  </a:extLst>
                </a:gridCol>
                <a:gridCol w="295492">
                  <a:extLst>
                    <a:ext uri="{9D8B030D-6E8A-4147-A177-3AD203B41FA5}">
                      <a16:colId xmlns:a16="http://schemas.microsoft.com/office/drawing/2014/main" val="670551899"/>
                    </a:ext>
                  </a:extLst>
                </a:gridCol>
                <a:gridCol w="295492">
                  <a:extLst>
                    <a:ext uri="{9D8B030D-6E8A-4147-A177-3AD203B41FA5}">
                      <a16:colId xmlns:a16="http://schemas.microsoft.com/office/drawing/2014/main" val="1100152168"/>
                    </a:ext>
                  </a:extLst>
                </a:gridCol>
                <a:gridCol w="295492">
                  <a:extLst>
                    <a:ext uri="{9D8B030D-6E8A-4147-A177-3AD203B41FA5}">
                      <a16:colId xmlns:a16="http://schemas.microsoft.com/office/drawing/2014/main" val="2165801595"/>
                    </a:ext>
                  </a:extLst>
                </a:gridCol>
                <a:gridCol w="295492">
                  <a:extLst>
                    <a:ext uri="{9D8B030D-6E8A-4147-A177-3AD203B41FA5}">
                      <a16:colId xmlns:a16="http://schemas.microsoft.com/office/drawing/2014/main" val="3981167565"/>
                    </a:ext>
                  </a:extLst>
                </a:gridCol>
                <a:gridCol w="295492">
                  <a:extLst>
                    <a:ext uri="{9D8B030D-6E8A-4147-A177-3AD203B41FA5}">
                      <a16:colId xmlns:a16="http://schemas.microsoft.com/office/drawing/2014/main" val="2740792325"/>
                    </a:ext>
                  </a:extLst>
                </a:gridCol>
                <a:gridCol w="295492">
                  <a:extLst>
                    <a:ext uri="{9D8B030D-6E8A-4147-A177-3AD203B41FA5}">
                      <a16:colId xmlns:a16="http://schemas.microsoft.com/office/drawing/2014/main" val="54782936"/>
                    </a:ext>
                  </a:extLst>
                </a:gridCol>
                <a:gridCol w="295492">
                  <a:extLst>
                    <a:ext uri="{9D8B030D-6E8A-4147-A177-3AD203B41FA5}">
                      <a16:colId xmlns:a16="http://schemas.microsoft.com/office/drawing/2014/main" val="154020430"/>
                    </a:ext>
                  </a:extLst>
                </a:gridCol>
                <a:gridCol w="295492">
                  <a:extLst>
                    <a:ext uri="{9D8B030D-6E8A-4147-A177-3AD203B41FA5}">
                      <a16:colId xmlns:a16="http://schemas.microsoft.com/office/drawing/2014/main" val="3928813835"/>
                    </a:ext>
                  </a:extLst>
                </a:gridCol>
                <a:gridCol w="295492">
                  <a:extLst>
                    <a:ext uri="{9D8B030D-6E8A-4147-A177-3AD203B41FA5}">
                      <a16:colId xmlns:a16="http://schemas.microsoft.com/office/drawing/2014/main" val="4210253042"/>
                    </a:ext>
                  </a:extLst>
                </a:gridCol>
                <a:gridCol w="295492">
                  <a:extLst>
                    <a:ext uri="{9D8B030D-6E8A-4147-A177-3AD203B41FA5}">
                      <a16:colId xmlns:a16="http://schemas.microsoft.com/office/drawing/2014/main" val="895787419"/>
                    </a:ext>
                  </a:extLst>
                </a:gridCol>
                <a:gridCol w="295492">
                  <a:extLst>
                    <a:ext uri="{9D8B030D-6E8A-4147-A177-3AD203B41FA5}">
                      <a16:colId xmlns:a16="http://schemas.microsoft.com/office/drawing/2014/main" val="3828388578"/>
                    </a:ext>
                  </a:extLst>
                </a:gridCol>
                <a:gridCol w="295492">
                  <a:extLst>
                    <a:ext uri="{9D8B030D-6E8A-4147-A177-3AD203B41FA5}">
                      <a16:colId xmlns:a16="http://schemas.microsoft.com/office/drawing/2014/main" val="742550205"/>
                    </a:ext>
                  </a:extLst>
                </a:gridCol>
                <a:gridCol w="295492">
                  <a:extLst>
                    <a:ext uri="{9D8B030D-6E8A-4147-A177-3AD203B41FA5}">
                      <a16:colId xmlns:a16="http://schemas.microsoft.com/office/drawing/2014/main" val="1408879461"/>
                    </a:ext>
                  </a:extLst>
                </a:gridCol>
              </a:tblGrid>
              <a:tr h="251292">
                <a:tc>
                  <a:txBody>
                    <a:bodyPr/>
                    <a:lstStyle/>
                    <a:p>
                      <a:r>
                        <a:rPr lang="en-US" sz="800" b="1" i="0" dirty="0">
                          <a:solidFill>
                            <a:schemeClr val="bg1"/>
                          </a:solidFill>
                          <a:latin typeface="+mj-lt"/>
                        </a:rPr>
                        <a:t>Sales </a:t>
                      </a:r>
                      <a:r>
                        <a:rPr lang="en-US" sz="800" b="1" i="0">
                          <a:solidFill>
                            <a:schemeClr val="bg1"/>
                          </a:solidFill>
                          <a:latin typeface="+mj-lt"/>
                        </a:rPr>
                        <a:t>Vs. 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rPr dirty="0"/>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rPr dirty="0"/>
                        <a:t>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helf </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Price</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Unit</a:t>
            </a:r>
          </a:p>
          <a:p>
            <a:pPr marL="0" marR="0" lvl="0" indent="0" defTabSz="685749"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Nexa Bold" panose="00000800000000000000" pitchFamily="2" charset="0"/>
              </a:rPr>
              <a:t>(</a:t>
            </a:r>
            <a:r>
              <a:rPr lang="en-US" sz="800" dirty="0">
                <a:solidFill>
                  <a:schemeClr val="tx1"/>
                </a:solidFill>
                <a:highlight>
                  <a:srgbClr val="FFFF00"/>
                </a:highlight>
                <a:latin typeface="Nexa Bold" panose="00000800000000000000" pitchFamily="2" charset="0"/>
              </a:rPr>
              <a:t>€</a:t>
            </a:r>
            <a:r>
              <a:rPr lang="en-US" sz="800" dirty="0">
                <a:solidFill>
                  <a:schemeClr val="tx1"/>
                </a:solidFill>
                <a:latin typeface="Nexa Bold" panose="00000800000000000000" pitchFamily="2" charset="0"/>
              </a:rPr>
              <a:t>)</a:t>
            </a:r>
            <a:endPar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endParaRP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Value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ales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M)</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8/11/2025</a:t>
            </a:fld>
            <a:endParaRPr lang="en-US" sz="500"/>
          </a:p>
        </p:txBody>
      </p:sp>
    </p:spTree>
    <p:extLst>
      <p:ext uri="{BB962C8B-B14F-4D97-AF65-F5344CB8AC3E}">
        <p14:creationId xmlns:p14="http://schemas.microsoft.com/office/powerpoint/2010/main" val="19299234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r>
              <a:rPr lang="en-US" dirty="0"/>
              <a:t>Inter-size Discount  | </a:t>
            </a:r>
            <a:r>
              <a:rPr lang="en-US" dirty="0">
                <a:highlight>
                  <a:srgbClr val="FFFF00"/>
                </a:highlight>
              </a:rPr>
              <a:t>Variant</a:t>
            </a:r>
            <a:r>
              <a:rPr lang="en-US" dirty="0"/>
              <a:t> | </a:t>
            </a:r>
            <a:r>
              <a:rPr lang="en-US" dirty="0">
                <a:highlight>
                  <a:srgbClr val="FFFF00"/>
                </a:highlight>
              </a:rPr>
              <a:t>National</a:t>
            </a:r>
            <a:r>
              <a:rPr lang="en-US" dirty="0"/>
              <a:t> | P12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2800073758"/>
              </p:ext>
            </p:extLst>
          </p:nvPr>
        </p:nvGraphicFramePr>
        <p:xfrm>
          <a:off x="555229" y="4265104"/>
          <a:ext cx="7441138"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95492">
                  <a:extLst>
                    <a:ext uri="{9D8B030D-6E8A-4147-A177-3AD203B41FA5}">
                      <a16:colId xmlns:a16="http://schemas.microsoft.com/office/drawing/2014/main" val="2253286919"/>
                    </a:ext>
                  </a:extLst>
                </a:gridCol>
                <a:gridCol w="295492">
                  <a:extLst>
                    <a:ext uri="{9D8B030D-6E8A-4147-A177-3AD203B41FA5}">
                      <a16:colId xmlns:a16="http://schemas.microsoft.com/office/drawing/2014/main" val="2739285047"/>
                    </a:ext>
                  </a:extLst>
                </a:gridCol>
                <a:gridCol w="295492">
                  <a:extLst>
                    <a:ext uri="{9D8B030D-6E8A-4147-A177-3AD203B41FA5}">
                      <a16:colId xmlns:a16="http://schemas.microsoft.com/office/drawing/2014/main" val="686050863"/>
                    </a:ext>
                  </a:extLst>
                </a:gridCol>
                <a:gridCol w="295492">
                  <a:extLst>
                    <a:ext uri="{9D8B030D-6E8A-4147-A177-3AD203B41FA5}">
                      <a16:colId xmlns:a16="http://schemas.microsoft.com/office/drawing/2014/main" val="3765127706"/>
                    </a:ext>
                  </a:extLst>
                </a:gridCol>
                <a:gridCol w="295492">
                  <a:extLst>
                    <a:ext uri="{9D8B030D-6E8A-4147-A177-3AD203B41FA5}">
                      <a16:colId xmlns:a16="http://schemas.microsoft.com/office/drawing/2014/main" val="273303937"/>
                    </a:ext>
                  </a:extLst>
                </a:gridCol>
                <a:gridCol w="295492">
                  <a:extLst>
                    <a:ext uri="{9D8B030D-6E8A-4147-A177-3AD203B41FA5}">
                      <a16:colId xmlns:a16="http://schemas.microsoft.com/office/drawing/2014/main" val="1190134658"/>
                    </a:ext>
                  </a:extLst>
                </a:gridCol>
                <a:gridCol w="295492">
                  <a:extLst>
                    <a:ext uri="{9D8B030D-6E8A-4147-A177-3AD203B41FA5}">
                      <a16:colId xmlns:a16="http://schemas.microsoft.com/office/drawing/2014/main" val="1152288185"/>
                    </a:ext>
                  </a:extLst>
                </a:gridCol>
                <a:gridCol w="295492">
                  <a:extLst>
                    <a:ext uri="{9D8B030D-6E8A-4147-A177-3AD203B41FA5}">
                      <a16:colId xmlns:a16="http://schemas.microsoft.com/office/drawing/2014/main" val="1888319813"/>
                    </a:ext>
                  </a:extLst>
                </a:gridCol>
                <a:gridCol w="295492">
                  <a:extLst>
                    <a:ext uri="{9D8B030D-6E8A-4147-A177-3AD203B41FA5}">
                      <a16:colId xmlns:a16="http://schemas.microsoft.com/office/drawing/2014/main" val="3471064540"/>
                    </a:ext>
                  </a:extLst>
                </a:gridCol>
                <a:gridCol w="295492">
                  <a:extLst>
                    <a:ext uri="{9D8B030D-6E8A-4147-A177-3AD203B41FA5}">
                      <a16:colId xmlns:a16="http://schemas.microsoft.com/office/drawing/2014/main" val="670551899"/>
                    </a:ext>
                  </a:extLst>
                </a:gridCol>
                <a:gridCol w="295492">
                  <a:extLst>
                    <a:ext uri="{9D8B030D-6E8A-4147-A177-3AD203B41FA5}">
                      <a16:colId xmlns:a16="http://schemas.microsoft.com/office/drawing/2014/main" val="1100152168"/>
                    </a:ext>
                  </a:extLst>
                </a:gridCol>
                <a:gridCol w="295492">
                  <a:extLst>
                    <a:ext uri="{9D8B030D-6E8A-4147-A177-3AD203B41FA5}">
                      <a16:colId xmlns:a16="http://schemas.microsoft.com/office/drawing/2014/main" val="2165801595"/>
                    </a:ext>
                  </a:extLst>
                </a:gridCol>
                <a:gridCol w="295492">
                  <a:extLst>
                    <a:ext uri="{9D8B030D-6E8A-4147-A177-3AD203B41FA5}">
                      <a16:colId xmlns:a16="http://schemas.microsoft.com/office/drawing/2014/main" val="3981167565"/>
                    </a:ext>
                  </a:extLst>
                </a:gridCol>
                <a:gridCol w="295492">
                  <a:extLst>
                    <a:ext uri="{9D8B030D-6E8A-4147-A177-3AD203B41FA5}">
                      <a16:colId xmlns:a16="http://schemas.microsoft.com/office/drawing/2014/main" val="2740792325"/>
                    </a:ext>
                  </a:extLst>
                </a:gridCol>
                <a:gridCol w="295492">
                  <a:extLst>
                    <a:ext uri="{9D8B030D-6E8A-4147-A177-3AD203B41FA5}">
                      <a16:colId xmlns:a16="http://schemas.microsoft.com/office/drawing/2014/main" val="54782936"/>
                    </a:ext>
                  </a:extLst>
                </a:gridCol>
                <a:gridCol w="295492">
                  <a:extLst>
                    <a:ext uri="{9D8B030D-6E8A-4147-A177-3AD203B41FA5}">
                      <a16:colId xmlns:a16="http://schemas.microsoft.com/office/drawing/2014/main" val="154020430"/>
                    </a:ext>
                  </a:extLst>
                </a:gridCol>
                <a:gridCol w="295492">
                  <a:extLst>
                    <a:ext uri="{9D8B030D-6E8A-4147-A177-3AD203B41FA5}">
                      <a16:colId xmlns:a16="http://schemas.microsoft.com/office/drawing/2014/main" val="3928813835"/>
                    </a:ext>
                  </a:extLst>
                </a:gridCol>
                <a:gridCol w="295492">
                  <a:extLst>
                    <a:ext uri="{9D8B030D-6E8A-4147-A177-3AD203B41FA5}">
                      <a16:colId xmlns:a16="http://schemas.microsoft.com/office/drawing/2014/main" val="4210253042"/>
                    </a:ext>
                  </a:extLst>
                </a:gridCol>
                <a:gridCol w="295492">
                  <a:extLst>
                    <a:ext uri="{9D8B030D-6E8A-4147-A177-3AD203B41FA5}">
                      <a16:colId xmlns:a16="http://schemas.microsoft.com/office/drawing/2014/main" val="895787419"/>
                    </a:ext>
                  </a:extLst>
                </a:gridCol>
                <a:gridCol w="295492">
                  <a:extLst>
                    <a:ext uri="{9D8B030D-6E8A-4147-A177-3AD203B41FA5}">
                      <a16:colId xmlns:a16="http://schemas.microsoft.com/office/drawing/2014/main" val="3828388578"/>
                    </a:ext>
                  </a:extLst>
                </a:gridCol>
                <a:gridCol w="295492">
                  <a:extLst>
                    <a:ext uri="{9D8B030D-6E8A-4147-A177-3AD203B41FA5}">
                      <a16:colId xmlns:a16="http://schemas.microsoft.com/office/drawing/2014/main" val="742550205"/>
                    </a:ext>
                  </a:extLst>
                </a:gridCol>
                <a:gridCol w="295492">
                  <a:extLst>
                    <a:ext uri="{9D8B030D-6E8A-4147-A177-3AD203B41FA5}">
                      <a16:colId xmlns:a16="http://schemas.microsoft.com/office/drawing/2014/main" val="1408879461"/>
                    </a:ext>
                  </a:extLst>
                </a:gridCol>
              </a:tblGrid>
              <a:tr h="251292">
                <a:tc>
                  <a:txBody>
                    <a:bodyPr/>
                    <a:lstStyle/>
                    <a:p>
                      <a:r>
                        <a:rPr lang="en-US" sz="800" b="1" i="0" dirty="0">
                          <a:solidFill>
                            <a:schemeClr val="bg1"/>
                          </a:solidFill>
                          <a:latin typeface="+mj-lt"/>
                        </a:rPr>
                        <a:t>Sales </a:t>
                      </a:r>
                      <a:r>
                        <a:rPr lang="en-US" sz="800" b="1" i="0">
                          <a:solidFill>
                            <a:schemeClr val="bg1"/>
                          </a:solidFill>
                          <a:latin typeface="+mj-lt"/>
                        </a:rPr>
                        <a:t>Vs. 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rPr dirty="0"/>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rPr dirty="0"/>
                        <a:t>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helf </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Price</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Unit</a:t>
            </a:r>
          </a:p>
          <a:p>
            <a:pPr marL="0" marR="0" lvl="0" indent="0" defTabSz="685749"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Nexa Bold" panose="00000800000000000000" pitchFamily="2" charset="0"/>
              </a:rPr>
              <a:t>(</a:t>
            </a:r>
            <a:r>
              <a:rPr lang="en-US" sz="800" dirty="0">
                <a:solidFill>
                  <a:schemeClr val="tx1"/>
                </a:solidFill>
                <a:highlight>
                  <a:srgbClr val="FFFF00"/>
                </a:highlight>
                <a:latin typeface="Nexa Bold" panose="00000800000000000000" pitchFamily="2" charset="0"/>
              </a:rPr>
              <a:t>€</a:t>
            </a:r>
            <a:r>
              <a:rPr lang="en-US" sz="800" dirty="0">
                <a:solidFill>
                  <a:schemeClr val="tx1"/>
                </a:solidFill>
                <a:latin typeface="Nexa Bold" panose="00000800000000000000" pitchFamily="2" charset="0"/>
              </a:rPr>
              <a:t>)</a:t>
            </a:r>
            <a:endPar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endParaRP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Value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ales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M)</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8/11/2025</a:t>
            </a:fld>
            <a:endParaRPr lang="en-US" sz="500"/>
          </a:p>
        </p:txBody>
      </p:sp>
    </p:spTree>
    <p:extLst>
      <p:ext uri="{BB962C8B-B14F-4D97-AF65-F5344CB8AC3E}">
        <p14:creationId xmlns:p14="http://schemas.microsoft.com/office/powerpoint/2010/main" val="364941258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r>
              <a:rPr lang="en-US" dirty="0"/>
              <a:t>Inter-size Discount  | </a:t>
            </a:r>
            <a:r>
              <a:rPr lang="en-US" dirty="0">
                <a:highlight>
                  <a:srgbClr val="FFFF00"/>
                </a:highlight>
              </a:rPr>
              <a:t>Variant</a:t>
            </a:r>
            <a:r>
              <a:rPr lang="en-US" dirty="0"/>
              <a:t> | </a:t>
            </a:r>
            <a:r>
              <a:rPr lang="en-US" dirty="0">
                <a:highlight>
                  <a:srgbClr val="FFFF00"/>
                </a:highlight>
              </a:rPr>
              <a:t>National</a:t>
            </a:r>
            <a:r>
              <a:rPr lang="en-US" dirty="0"/>
              <a:t> | P12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2800073758"/>
              </p:ext>
            </p:extLst>
          </p:nvPr>
        </p:nvGraphicFramePr>
        <p:xfrm>
          <a:off x="555229" y="4265104"/>
          <a:ext cx="7441138"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95492">
                  <a:extLst>
                    <a:ext uri="{9D8B030D-6E8A-4147-A177-3AD203B41FA5}">
                      <a16:colId xmlns:a16="http://schemas.microsoft.com/office/drawing/2014/main" val="2253286919"/>
                    </a:ext>
                  </a:extLst>
                </a:gridCol>
                <a:gridCol w="295492">
                  <a:extLst>
                    <a:ext uri="{9D8B030D-6E8A-4147-A177-3AD203B41FA5}">
                      <a16:colId xmlns:a16="http://schemas.microsoft.com/office/drawing/2014/main" val="2739285047"/>
                    </a:ext>
                  </a:extLst>
                </a:gridCol>
                <a:gridCol w="295492">
                  <a:extLst>
                    <a:ext uri="{9D8B030D-6E8A-4147-A177-3AD203B41FA5}">
                      <a16:colId xmlns:a16="http://schemas.microsoft.com/office/drawing/2014/main" val="686050863"/>
                    </a:ext>
                  </a:extLst>
                </a:gridCol>
                <a:gridCol w="295492">
                  <a:extLst>
                    <a:ext uri="{9D8B030D-6E8A-4147-A177-3AD203B41FA5}">
                      <a16:colId xmlns:a16="http://schemas.microsoft.com/office/drawing/2014/main" val="3765127706"/>
                    </a:ext>
                  </a:extLst>
                </a:gridCol>
                <a:gridCol w="295492">
                  <a:extLst>
                    <a:ext uri="{9D8B030D-6E8A-4147-A177-3AD203B41FA5}">
                      <a16:colId xmlns:a16="http://schemas.microsoft.com/office/drawing/2014/main" val="273303937"/>
                    </a:ext>
                  </a:extLst>
                </a:gridCol>
                <a:gridCol w="295492">
                  <a:extLst>
                    <a:ext uri="{9D8B030D-6E8A-4147-A177-3AD203B41FA5}">
                      <a16:colId xmlns:a16="http://schemas.microsoft.com/office/drawing/2014/main" val="1190134658"/>
                    </a:ext>
                  </a:extLst>
                </a:gridCol>
                <a:gridCol w="295492">
                  <a:extLst>
                    <a:ext uri="{9D8B030D-6E8A-4147-A177-3AD203B41FA5}">
                      <a16:colId xmlns:a16="http://schemas.microsoft.com/office/drawing/2014/main" val="1152288185"/>
                    </a:ext>
                  </a:extLst>
                </a:gridCol>
                <a:gridCol w="295492">
                  <a:extLst>
                    <a:ext uri="{9D8B030D-6E8A-4147-A177-3AD203B41FA5}">
                      <a16:colId xmlns:a16="http://schemas.microsoft.com/office/drawing/2014/main" val="1888319813"/>
                    </a:ext>
                  </a:extLst>
                </a:gridCol>
                <a:gridCol w="295492">
                  <a:extLst>
                    <a:ext uri="{9D8B030D-6E8A-4147-A177-3AD203B41FA5}">
                      <a16:colId xmlns:a16="http://schemas.microsoft.com/office/drawing/2014/main" val="3471064540"/>
                    </a:ext>
                  </a:extLst>
                </a:gridCol>
                <a:gridCol w="295492">
                  <a:extLst>
                    <a:ext uri="{9D8B030D-6E8A-4147-A177-3AD203B41FA5}">
                      <a16:colId xmlns:a16="http://schemas.microsoft.com/office/drawing/2014/main" val="670551899"/>
                    </a:ext>
                  </a:extLst>
                </a:gridCol>
                <a:gridCol w="295492">
                  <a:extLst>
                    <a:ext uri="{9D8B030D-6E8A-4147-A177-3AD203B41FA5}">
                      <a16:colId xmlns:a16="http://schemas.microsoft.com/office/drawing/2014/main" val="1100152168"/>
                    </a:ext>
                  </a:extLst>
                </a:gridCol>
                <a:gridCol w="295492">
                  <a:extLst>
                    <a:ext uri="{9D8B030D-6E8A-4147-A177-3AD203B41FA5}">
                      <a16:colId xmlns:a16="http://schemas.microsoft.com/office/drawing/2014/main" val="2165801595"/>
                    </a:ext>
                  </a:extLst>
                </a:gridCol>
                <a:gridCol w="295492">
                  <a:extLst>
                    <a:ext uri="{9D8B030D-6E8A-4147-A177-3AD203B41FA5}">
                      <a16:colId xmlns:a16="http://schemas.microsoft.com/office/drawing/2014/main" val="3981167565"/>
                    </a:ext>
                  </a:extLst>
                </a:gridCol>
                <a:gridCol w="295492">
                  <a:extLst>
                    <a:ext uri="{9D8B030D-6E8A-4147-A177-3AD203B41FA5}">
                      <a16:colId xmlns:a16="http://schemas.microsoft.com/office/drawing/2014/main" val="2740792325"/>
                    </a:ext>
                  </a:extLst>
                </a:gridCol>
                <a:gridCol w="295492">
                  <a:extLst>
                    <a:ext uri="{9D8B030D-6E8A-4147-A177-3AD203B41FA5}">
                      <a16:colId xmlns:a16="http://schemas.microsoft.com/office/drawing/2014/main" val="54782936"/>
                    </a:ext>
                  </a:extLst>
                </a:gridCol>
                <a:gridCol w="295492">
                  <a:extLst>
                    <a:ext uri="{9D8B030D-6E8A-4147-A177-3AD203B41FA5}">
                      <a16:colId xmlns:a16="http://schemas.microsoft.com/office/drawing/2014/main" val="154020430"/>
                    </a:ext>
                  </a:extLst>
                </a:gridCol>
                <a:gridCol w="295492">
                  <a:extLst>
                    <a:ext uri="{9D8B030D-6E8A-4147-A177-3AD203B41FA5}">
                      <a16:colId xmlns:a16="http://schemas.microsoft.com/office/drawing/2014/main" val="3928813835"/>
                    </a:ext>
                  </a:extLst>
                </a:gridCol>
                <a:gridCol w="295492">
                  <a:extLst>
                    <a:ext uri="{9D8B030D-6E8A-4147-A177-3AD203B41FA5}">
                      <a16:colId xmlns:a16="http://schemas.microsoft.com/office/drawing/2014/main" val="4210253042"/>
                    </a:ext>
                  </a:extLst>
                </a:gridCol>
                <a:gridCol w="295492">
                  <a:extLst>
                    <a:ext uri="{9D8B030D-6E8A-4147-A177-3AD203B41FA5}">
                      <a16:colId xmlns:a16="http://schemas.microsoft.com/office/drawing/2014/main" val="895787419"/>
                    </a:ext>
                  </a:extLst>
                </a:gridCol>
                <a:gridCol w="295492">
                  <a:extLst>
                    <a:ext uri="{9D8B030D-6E8A-4147-A177-3AD203B41FA5}">
                      <a16:colId xmlns:a16="http://schemas.microsoft.com/office/drawing/2014/main" val="3828388578"/>
                    </a:ext>
                  </a:extLst>
                </a:gridCol>
                <a:gridCol w="295492">
                  <a:extLst>
                    <a:ext uri="{9D8B030D-6E8A-4147-A177-3AD203B41FA5}">
                      <a16:colId xmlns:a16="http://schemas.microsoft.com/office/drawing/2014/main" val="742550205"/>
                    </a:ext>
                  </a:extLst>
                </a:gridCol>
                <a:gridCol w="295492">
                  <a:extLst>
                    <a:ext uri="{9D8B030D-6E8A-4147-A177-3AD203B41FA5}">
                      <a16:colId xmlns:a16="http://schemas.microsoft.com/office/drawing/2014/main" val="1408879461"/>
                    </a:ext>
                  </a:extLst>
                </a:gridCol>
              </a:tblGrid>
              <a:tr h="251292">
                <a:tc>
                  <a:txBody>
                    <a:bodyPr/>
                    <a:lstStyle/>
                    <a:p>
                      <a:r>
                        <a:rPr lang="en-US" sz="800" b="1" i="0" dirty="0">
                          <a:solidFill>
                            <a:schemeClr val="bg1"/>
                          </a:solidFill>
                          <a:latin typeface="+mj-lt"/>
                        </a:rPr>
                        <a:t>Sales </a:t>
                      </a:r>
                      <a:r>
                        <a:rPr lang="en-US" sz="800" b="1" i="0">
                          <a:solidFill>
                            <a:schemeClr val="bg1"/>
                          </a:solidFill>
                          <a:latin typeface="+mj-lt"/>
                        </a:rPr>
                        <a:t>Vs. 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rPr dirty="0"/>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rPr dirty="0"/>
                        <a:t>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helf </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Price</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Unit</a:t>
            </a:r>
          </a:p>
          <a:p>
            <a:pPr marL="0" marR="0" lvl="0" indent="0" defTabSz="685749"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Nexa Bold" panose="00000800000000000000" pitchFamily="2" charset="0"/>
              </a:rPr>
              <a:t>(</a:t>
            </a:r>
            <a:r>
              <a:rPr lang="en-US" sz="800" dirty="0">
                <a:solidFill>
                  <a:schemeClr val="tx1"/>
                </a:solidFill>
                <a:highlight>
                  <a:srgbClr val="FFFF00"/>
                </a:highlight>
                <a:latin typeface="Nexa Bold" panose="00000800000000000000" pitchFamily="2" charset="0"/>
              </a:rPr>
              <a:t>€</a:t>
            </a:r>
            <a:r>
              <a:rPr lang="en-US" sz="800" dirty="0">
                <a:solidFill>
                  <a:schemeClr val="tx1"/>
                </a:solidFill>
                <a:latin typeface="Nexa Bold" panose="00000800000000000000" pitchFamily="2" charset="0"/>
              </a:rPr>
              <a:t>)</a:t>
            </a:r>
            <a:endPar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endParaRP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Value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ales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M)</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8/11/2025</a:t>
            </a:fld>
            <a:endParaRPr lang="en-US" sz="500"/>
          </a:p>
        </p:txBody>
      </p:sp>
    </p:spTree>
    <p:extLst>
      <p:ext uri="{BB962C8B-B14F-4D97-AF65-F5344CB8AC3E}">
        <p14:creationId xmlns:p14="http://schemas.microsoft.com/office/powerpoint/2010/main" val="16064218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r>
              <a:rPr lang="en-US" dirty="0"/>
              <a:t>Inter-size Discount  | </a:t>
            </a:r>
            <a:r>
              <a:rPr lang="en-US" dirty="0">
                <a:highlight>
                  <a:srgbClr val="FFFF00"/>
                </a:highlight>
              </a:rPr>
              <a:t>Variant</a:t>
            </a:r>
            <a:r>
              <a:rPr lang="en-US" dirty="0"/>
              <a:t> | </a:t>
            </a:r>
            <a:r>
              <a:rPr lang="en-US" dirty="0">
                <a:highlight>
                  <a:srgbClr val="FFFF00"/>
                </a:highlight>
              </a:rPr>
              <a:t>National</a:t>
            </a:r>
            <a:r>
              <a:rPr lang="en-US" dirty="0"/>
              <a:t> | P12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2800073758"/>
              </p:ext>
            </p:extLst>
          </p:nvPr>
        </p:nvGraphicFramePr>
        <p:xfrm>
          <a:off x="555229" y="4265104"/>
          <a:ext cx="7441138"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95492">
                  <a:extLst>
                    <a:ext uri="{9D8B030D-6E8A-4147-A177-3AD203B41FA5}">
                      <a16:colId xmlns:a16="http://schemas.microsoft.com/office/drawing/2014/main" val="2253286919"/>
                    </a:ext>
                  </a:extLst>
                </a:gridCol>
                <a:gridCol w="295492">
                  <a:extLst>
                    <a:ext uri="{9D8B030D-6E8A-4147-A177-3AD203B41FA5}">
                      <a16:colId xmlns:a16="http://schemas.microsoft.com/office/drawing/2014/main" val="2739285047"/>
                    </a:ext>
                  </a:extLst>
                </a:gridCol>
                <a:gridCol w="295492">
                  <a:extLst>
                    <a:ext uri="{9D8B030D-6E8A-4147-A177-3AD203B41FA5}">
                      <a16:colId xmlns:a16="http://schemas.microsoft.com/office/drawing/2014/main" val="686050863"/>
                    </a:ext>
                  </a:extLst>
                </a:gridCol>
                <a:gridCol w="295492">
                  <a:extLst>
                    <a:ext uri="{9D8B030D-6E8A-4147-A177-3AD203B41FA5}">
                      <a16:colId xmlns:a16="http://schemas.microsoft.com/office/drawing/2014/main" val="3765127706"/>
                    </a:ext>
                  </a:extLst>
                </a:gridCol>
                <a:gridCol w="295492">
                  <a:extLst>
                    <a:ext uri="{9D8B030D-6E8A-4147-A177-3AD203B41FA5}">
                      <a16:colId xmlns:a16="http://schemas.microsoft.com/office/drawing/2014/main" val="273303937"/>
                    </a:ext>
                  </a:extLst>
                </a:gridCol>
                <a:gridCol w="295492">
                  <a:extLst>
                    <a:ext uri="{9D8B030D-6E8A-4147-A177-3AD203B41FA5}">
                      <a16:colId xmlns:a16="http://schemas.microsoft.com/office/drawing/2014/main" val="1190134658"/>
                    </a:ext>
                  </a:extLst>
                </a:gridCol>
                <a:gridCol w="295492">
                  <a:extLst>
                    <a:ext uri="{9D8B030D-6E8A-4147-A177-3AD203B41FA5}">
                      <a16:colId xmlns:a16="http://schemas.microsoft.com/office/drawing/2014/main" val="1152288185"/>
                    </a:ext>
                  </a:extLst>
                </a:gridCol>
                <a:gridCol w="295492">
                  <a:extLst>
                    <a:ext uri="{9D8B030D-6E8A-4147-A177-3AD203B41FA5}">
                      <a16:colId xmlns:a16="http://schemas.microsoft.com/office/drawing/2014/main" val="1888319813"/>
                    </a:ext>
                  </a:extLst>
                </a:gridCol>
                <a:gridCol w="295492">
                  <a:extLst>
                    <a:ext uri="{9D8B030D-6E8A-4147-A177-3AD203B41FA5}">
                      <a16:colId xmlns:a16="http://schemas.microsoft.com/office/drawing/2014/main" val="3471064540"/>
                    </a:ext>
                  </a:extLst>
                </a:gridCol>
                <a:gridCol w="295492">
                  <a:extLst>
                    <a:ext uri="{9D8B030D-6E8A-4147-A177-3AD203B41FA5}">
                      <a16:colId xmlns:a16="http://schemas.microsoft.com/office/drawing/2014/main" val="670551899"/>
                    </a:ext>
                  </a:extLst>
                </a:gridCol>
                <a:gridCol w="295492">
                  <a:extLst>
                    <a:ext uri="{9D8B030D-6E8A-4147-A177-3AD203B41FA5}">
                      <a16:colId xmlns:a16="http://schemas.microsoft.com/office/drawing/2014/main" val="1100152168"/>
                    </a:ext>
                  </a:extLst>
                </a:gridCol>
                <a:gridCol w="295492">
                  <a:extLst>
                    <a:ext uri="{9D8B030D-6E8A-4147-A177-3AD203B41FA5}">
                      <a16:colId xmlns:a16="http://schemas.microsoft.com/office/drawing/2014/main" val="2165801595"/>
                    </a:ext>
                  </a:extLst>
                </a:gridCol>
                <a:gridCol w="295492">
                  <a:extLst>
                    <a:ext uri="{9D8B030D-6E8A-4147-A177-3AD203B41FA5}">
                      <a16:colId xmlns:a16="http://schemas.microsoft.com/office/drawing/2014/main" val="3981167565"/>
                    </a:ext>
                  </a:extLst>
                </a:gridCol>
                <a:gridCol w="295492">
                  <a:extLst>
                    <a:ext uri="{9D8B030D-6E8A-4147-A177-3AD203B41FA5}">
                      <a16:colId xmlns:a16="http://schemas.microsoft.com/office/drawing/2014/main" val="2740792325"/>
                    </a:ext>
                  </a:extLst>
                </a:gridCol>
                <a:gridCol w="295492">
                  <a:extLst>
                    <a:ext uri="{9D8B030D-6E8A-4147-A177-3AD203B41FA5}">
                      <a16:colId xmlns:a16="http://schemas.microsoft.com/office/drawing/2014/main" val="54782936"/>
                    </a:ext>
                  </a:extLst>
                </a:gridCol>
                <a:gridCol w="295492">
                  <a:extLst>
                    <a:ext uri="{9D8B030D-6E8A-4147-A177-3AD203B41FA5}">
                      <a16:colId xmlns:a16="http://schemas.microsoft.com/office/drawing/2014/main" val="154020430"/>
                    </a:ext>
                  </a:extLst>
                </a:gridCol>
                <a:gridCol w="295492">
                  <a:extLst>
                    <a:ext uri="{9D8B030D-6E8A-4147-A177-3AD203B41FA5}">
                      <a16:colId xmlns:a16="http://schemas.microsoft.com/office/drawing/2014/main" val="3928813835"/>
                    </a:ext>
                  </a:extLst>
                </a:gridCol>
                <a:gridCol w="295492">
                  <a:extLst>
                    <a:ext uri="{9D8B030D-6E8A-4147-A177-3AD203B41FA5}">
                      <a16:colId xmlns:a16="http://schemas.microsoft.com/office/drawing/2014/main" val="4210253042"/>
                    </a:ext>
                  </a:extLst>
                </a:gridCol>
                <a:gridCol w="295492">
                  <a:extLst>
                    <a:ext uri="{9D8B030D-6E8A-4147-A177-3AD203B41FA5}">
                      <a16:colId xmlns:a16="http://schemas.microsoft.com/office/drawing/2014/main" val="895787419"/>
                    </a:ext>
                  </a:extLst>
                </a:gridCol>
                <a:gridCol w="295492">
                  <a:extLst>
                    <a:ext uri="{9D8B030D-6E8A-4147-A177-3AD203B41FA5}">
                      <a16:colId xmlns:a16="http://schemas.microsoft.com/office/drawing/2014/main" val="3828388578"/>
                    </a:ext>
                  </a:extLst>
                </a:gridCol>
                <a:gridCol w="295492">
                  <a:extLst>
                    <a:ext uri="{9D8B030D-6E8A-4147-A177-3AD203B41FA5}">
                      <a16:colId xmlns:a16="http://schemas.microsoft.com/office/drawing/2014/main" val="742550205"/>
                    </a:ext>
                  </a:extLst>
                </a:gridCol>
                <a:gridCol w="295492">
                  <a:extLst>
                    <a:ext uri="{9D8B030D-6E8A-4147-A177-3AD203B41FA5}">
                      <a16:colId xmlns:a16="http://schemas.microsoft.com/office/drawing/2014/main" val="1408879461"/>
                    </a:ext>
                  </a:extLst>
                </a:gridCol>
              </a:tblGrid>
              <a:tr h="251292">
                <a:tc>
                  <a:txBody>
                    <a:bodyPr/>
                    <a:lstStyle/>
                    <a:p>
                      <a:r>
                        <a:rPr lang="en-US" sz="800" b="1" i="0" dirty="0">
                          <a:solidFill>
                            <a:schemeClr val="bg1"/>
                          </a:solidFill>
                          <a:latin typeface="+mj-lt"/>
                        </a:rPr>
                        <a:t>Sales </a:t>
                      </a:r>
                      <a:r>
                        <a:rPr lang="en-US" sz="800" b="1" i="0">
                          <a:solidFill>
                            <a:schemeClr val="bg1"/>
                          </a:solidFill>
                          <a:latin typeface="+mj-lt"/>
                        </a:rPr>
                        <a:t>Vs. 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rPr dirty="0"/>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rPr dirty="0"/>
                        <a:t>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helf </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Price</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Unit</a:t>
            </a:r>
          </a:p>
          <a:p>
            <a:pPr marL="0" marR="0" lvl="0" indent="0" defTabSz="685749"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Nexa Bold" panose="00000800000000000000" pitchFamily="2" charset="0"/>
              </a:rPr>
              <a:t>(</a:t>
            </a:r>
            <a:r>
              <a:rPr lang="en-US" sz="800" dirty="0">
                <a:solidFill>
                  <a:schemeClr val="tx1"/>
                </a:solidFill>
                <a:highlight>
                  <a:srgbClr val="FFFF00"/>
                </a:highlight>
                <a:latin typeface="Nexa Bold" panose="00000800000000000000" pitchFamily="2" charset="0"/>
              </a:rPr>
              <a:t>€</a:t>
            </a:r>
            <a:r>
              <a:rPr lang="en-US" sz="800" dirty="0">
                <a:solidFill>
                  <a:schemeClr val="tx1"/>
                </a:solidFill>
                <a:latin typeface="Nexa Bold" panose="00000800000000000000" pitchFamily="2" charset="0"/>
              </a:rPr>
              <a:t>)</a:t>
            </a:r>
            <a:endPar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endParaRP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Value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ales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M)</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8/11/2025</a:t>
            </a:fld>
            <a:endParaRPr lang="en-US" sz="500"/>
          </a:p>
        </p:txBody>
      </p:sp>
    </p:spTree>
    <p:extLst>
      <p:ext uri="{BB962C8B-B14F-4D97-AF65-F5344CB8AC3E}">
        <p14:creationId xmlns:p14="http://schemas.microsoft.com/office/powerpoint/2010/main" val="115080825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r>
              <a:rPr lang="en-US" dirty="0"/>
              <a:t>Inter-size Discount  | </a:t>
            </a:r>
            <a:r>
              <a:rPr lang="en-US" dirty="0">
                <a:highlight>
                  <a:srgbClr val="FFFF00"/>
                </a:highlight>
              </a:rPr>
              <a:t>Variant</a:t>
            </a:r>
            <a:r>
              <a:rPr lang="en-US" dirty="0"/>
              <a:t> | </a:t>
            </a:r>
            <a:r>
              <a:rPr lang="en-US" dirty="0">
                <a:highlight>
                  <a:srgbClr val="FFFF00"/>
                </a:highlight>
              </a:rPr>
              <a:t>National</a:t>
            </a:r>
            <a:r>
              <a:rPr lang="en-US" dirty="0"/>
              <a:t> | P12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2800073758"/>
              </p:ext>
            </p:extLst>
          </p:nvPr>
        </p:nvGraphicFramePr>
        <p:xfrm>
          <a:off x="555229" y="4265104"/>
          <a:ext cx="7441138"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95492">
                  <a:extLst>
                    <a:ext uri="{9D8B030D-6E8A-4147-A177-3AD203B41FA5}">
                      <a16:colId xmlns:a16="http://schemas.microsoft.com/office/drawing/2014/main" val="2253286919"/>
                    </a:ext>
                  </a:extLst>
                </a:gridCol>
                <a:gridCol w="295492">
                  <a:extLst>
                    <a:ext uri="{9D8B030D-6E8A-4147-A177-3AD203B41FA5}">
                      <a16:colId xmlns:a16="http://schemas.microsoft.com/office/drawing/2014/main" val="2739285047"/>
                    </a:ext>
                  </a:extLst>
                </a:gridCol>
                <a:gridCol w="295492">
                  <a:extLst>
                    <a:ext uri="{9D8B030D-6E8A-4147-A177-3AD203B41FA5}">
                      <a16:colId xmlns:a16="http://schemas.microsoft.com/office/drawing/2014/main" val="686050863"/>
                    </a:ext>
                  </a:extLst>
                </a:gridCol>
                <a:gridCol w="295492">
                  <a:extLst>
                    <a:ext uri="{9D8B030D-6E8A-4147-A177-3AD203B41FA5}">
                      <a16:colId xmlns:a16="http://schemas.microsoft.com/office/drawing/2014/main" val="3765127706"/>
                    </a:ext>
                  </a:extLst>
                </a:gridCol>
                <a:gridCol w="295492">
                  <a:extLst>
                    <a:ext uri="{9D8B030D-6E8A-4147-A177-3AD203B41FA5}">
                      <a16:colId xmlns:a16="http://schemas.microsoft.com/office/drawing/2014/main" val="273303937"/>
                    </a:ext>
                  </a:extLst>
                </a:gridCol>
                <a:gridCol w="295492">
                  <a:extLst>
                    <a:ext uri="{9D8B030D-6E8A-4147-A177-3AD203B41FA5}">
                      <a16:colId xmlns:a16="http://schemas.microsoft.com/office/drawing/2014/main" val="1190134658"/>
                    </a:ext>
                  </a:extLst>
                </a:gridCol>
                <a:gridCol w="295492">
                  <a:extLst>
                    <a:ext uri="{9D8B030D-6E8A-4147-A177-3AD203B41FA5}">
                      <a16:colId xmlns:a16="http://schemas.microsoft.com/office/drawing/2014/main" val="1152288185"/>
                    </a:ext>
                  </a:extLst>
                </a:gridCol>
                <a:gridCol w="295492">
                  <a:extLst>
                    <a:ext uri="{9D8B030D-6E8A-4147-A177-3AD203B41FA5}">
                      <a16:colId xmlns:a16="http://schemas.microsoft.com/office/drawing/2014/main" val="1888319813"/>
                    </a:ext>
                  </a:extLst>
                </a:gridCol>
                <a:gridCol w="295492">
                  <a:extLst>
                    <a:ext uri="{9D8B030D-6E8A-4147-A177-3AD203B41FA5}">
                      <a16:colId xmlns:a16="http://schemas.microsoft.com/office/drawing/2014/main" val="3471064540"/>
                    </a:ext>
                  </a:extLst>
                </a:gridCol>
                <a:gridCol w="295492">
                  <a:extLst>
                    <a:ext uri="{9D8B030D-6E8A-4147-A177-3AD203B41FA5}">
                      <a16:colId xmlns:a16="http://schemas.microsoft.com/office/drawing/2014/main" val="670551899"/>
                    </a:ext>
                  </a:extLst>
                </a:gridCol>
                <a:gridCol w="295492">
                  <a:extLst>
                    <a:ext uri="{9D8B030D-6E8A-4147-A177-3AD203B41FA5}">
                      <a16:colId xmlns:a16="http://schemas.microsoft.com/office/drawing/2014/main" val="1100152168"/>
                    </a:ext>
                  </a:extLst>
                </a:gridCol>
                <a:gridCol w="295492">
                  <a:extLst>
                    <a:ext uri="{9D8B030D-6E8A-4147-A177-3AD203B41FA5}">
                      <a16:colId xmlns:a16="http://schemas.microsoft.com/office/drawing/2014/main" val="2165801595"/>
                    </a:ext>
                  </a:extLst>
                </a:gridCol>
                <a:gridCol w="295492">
                  <a:extLst>
                    <a:ext uri="{9D8B030D-6E8A-4147-A177-3AD203B41FA5}">
                      <a16:colId xmlns:a16="http://schemas.microsoft.com/office/drawing/2014/main" val="3981167565"/>
                    </a:ext>
                  </a:extLst>
                </a:gridCol>
                <a:gridCol w="295492">
                  <a:extLst>
                    <a:ext uri="{9D8B030D-6E8A-4147-A177-3AD203B41FA5}">
                      <a16:colId xmlns:a16="http://schemas.microsoft.com/office/drawing/2014/main" val="2740792325"/>
                    </a:ext>
                  </a:extLst>
                </a:gridCol>
                <a:gridCol w="295492">
                  <a:extLst>
                    <a:ext uri="{9D8B030D-6E8A-4147-A177-3AD203B41FA5}">
                      <a16:colId xmlns:a16="http://schemas.microsoft.com/office/drawing/2014/main" val="54782936"/>
                    </a:ext>
                  </a:extLst>
                </a:gridCol>
                <a:gridCol w="295492">
                  <a:extLst>
                    <a:ext uri="{9D8B030D-6E8A-4147-A177-3AD203B41FA5}">
                      <a16:colId xmlns:a16="http://schemas.microsoft.com/office/drawing/2014/main" val="154020430"/>
                    </a:ext>
                  </a:extLst>
                </a:gridCol>
                <a:gridCol w="295492">
                  <a:extLst>
                    <a:ext uri="{9D8B030D-6E8A-4147-A177-3AD203B41FA5}">
                      <a16:colId xmlns:a16="http://schemas.microsoft.com/office/drawing/2014/main" val="3928813835"/>
                    </a:ext>
                  </a:extLst>
                </a:gridCol>
                <a:gridCol w="295492">
                  <a:extLst>
                    <a:ext uri="{9D8B030D-6E8A-4147-A177-3AD203B41FA5}">
                      <a16:colId xmlns:a16="http://schemas.microsoft.com/office/drawing/2014/main" val="4210253042"/>
                    </a:ext>
                  </a:extLst>
                </a:gridCol>
                <a:gridCol w="295492">
                  <a:extLst>
                    <a:ext uri="{9D8B030D-6E8A-4147-A177-3AD203B41FA5}">
                      <a16:colId xmlns:a16="http://schemas.microsoft.com/office/drawing/2014/main" val="895787419"/>
                    </a:ext>
                  </a:extLst>
                </a:gridCol>
                <a:gridCol w="295492">
                  <a:extLst>
                    <a:ext uri="{9D8B030D-6E8A-4147-A177-3AD203B41FA5}">
                      <a16:colId xmlns:a16="http://schemas.microsoft.com/office/drawing/2014/main" val="3828388578"/>
                    </a:ext>
                  </a:extLst>
                </a:gridCol>
                <a:gridCol w="295492">
                  <a:extLst>
                    <a:ext uri="{9D8B030D-6E8A-4147-A177-3AD203B41FA5}">
                      <a16:colId xmlns:a16="http://schemas.microsoft.com/office/drawing/2014/main" val="742550205"/>
                    </a:ext>
                  </a:extLst>
                </a:gridCol>
                <a:gridCol w="295492">
                  <a:extLst>
                    <a:ext uri="{9D8B030D-6E8A-4147-A177-3AD203B41FA5}">
                      <a16:colId xmlns:a16="http://schemas.microsoft.com/office/drawing/2014/main" val="1408879461"/>
                    </a:ext>
                  </a:extLst>
                </a:gridCol>
              </a:tblGrid>
              <a:tr h="251292">
                <a:tc>
                  <a:txBody>
                    <a:bodyPr/>
                    <a:lstStyle/>
                    <a:p>
                      <a:r>
                        <a:rPr lang="en-US" sz="800" b="1" i="0" dirty="0">
                          <a:solidFill>
                            <a:schemeClr val="bg1"/>
                          </a:solidFill>
                          <a:latin typeface="+mj-lt"/>
                        </a:rPr>
                        <a:t>Sales </a:t>
                      </a:r>
                      <a:r>
                        <a:rPr lang="en-US" sz="800" b="1" i="0">
                          <a:solidFill>
                            <a:schemeClr val="bg1"/>
                          </a:solidFill>
                          <a:latin typeface="+mj-lt"/>
                        </a:rPr>
                        <a:t>Vs. 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rPr dirty="0"/>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rPr dirty="0"/>
                        <a:t>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helf </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Price</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Unit</a:t>
            </a:r>
          </a:p>
          <a:p>
            <a:pPr marL="0" marR="0" lvl="0" indent="0" defTabSz="685749"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Nexa Bold" panose="00000800000000000000" pitchFamily="2" charset="0"/>
              </a:rPr>
              <a:t>(</a:t>
            </a:r>
            <a:r>
              <a:rPr lang="en-US" sz="800" dirty="0">
                <a:solidFill>
                  <a:schemeClr val="tx1"/>
                </a:solidFill>
                <a:highlight>
                  <a:srgbClr val="FFFF00"/>
                </a:highlight>
                <a:latin typeface="Nexa Bold" panose="00000800000000000000" pitchFamily="2" charset="0"/>
              </a:rPr>
              <a:t>€</a:t>
            </a:r>
            <a:r>
              <a:rPr lang="en-US" sz="800" dirty="0">
                <a:solidFill>
                  <a:schemeClr val="tx1"/>
                </a:solidFill>
                <a:latin typeface="Nexa Bold" panose="00000800000000000000" pitchFamily="2" charset="0"/>
              </a:rPr>
              <a:t>)</a:t>
            </a:r>
            <a:endPar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endParaRP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Value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ales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M)</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8/11/2025</a:t>
            </a:fld>
            <a:endParaRPr lang="en-US" sz="500"/>
          </a:p>
        </p:txBody>
      </p:sp>
    </p:spTree>
    <p:extLst>
      <p:ext uri="{BB962C8B-B14F-4D97-AF65-F5344CB8AC3E}">
        <p14:creationId xmlns:p14="http://schemas.microsoft.com/office/powerpoint/2010/main" val="41630238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r>
              <a:rPr lang="en-US" dirty="0"/>
              <a:t>Inter-size Discount  | </a:t>
            </a:r>
            <a:r>
              <a:rPr lang="en-US" dirty="0">
                <a:highlight>
                  <a:srgbClr val="FFFF00"/>
                </a:highlight>
              </a:rPr>
              <a:t>Variant</a:t>
            </a:r>
            <a:r>
              <a:rPr lang="en-US" dirty="0"/>
              <a:t> | </a:t>
            </a:r>
            <a:r>
              <a:rPr lang="en-US" dirty="0">
                <a:highlight>
                  <a:srgbClr val="FFFF00"/>
                </a:highlight>
              </a:rPr>
              <a:t>National</a:t>
            </a:r>
            <a:r>
              <a:rPr lang="en-US" dirty="0"/>
              <a:t> | P12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2800073758"/>
              </p:ext>
            </p:extLst>
          </p:nvPr>
        </p:nvGraphicFramePr>
        <p:xfrm>
          <a:off x="555229" y="4265104"/>
          <a:ext cx="7441138"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95492">
                  <a:extLst>
                    <a:ext uri="{9D8B030D-6E8A-4147-A177-3AD203B41FA5}">
                      <a16:colId xmlns:a16="http://schemas.microsoft.com/office/drawing/2014/main" val="2253286919"/>
                    </a:ext>
                  </a:extLst>
                </a:gridCol>
                <a:gridCol w="295492">
                  <a:extLst>
                    <a:ext uri="{9D8B030D-6E8A-4147-A177-3AD203B41FA5}">
                      <a16:colId xmlns:a16="http://schemas.microsoft.com/office/drawing/2014/main" val="2739285047"/>
                    </a:ext>
                  </a:extLst>
                </a:gridCol>
                <a:gridCol w="295492">
                  <a:extLst>
                    <a:ext uri="{9D8B030D-6E8A-4147-A177-3AD203B41FA5}">
                      <a16:colId xmlns:a16="http://schemas.microsoft.com/office/drawing/2014/main" val="686050863"/>
                    </a:ext>
                  </a:extLst>
                </a:gridCol>
                <a:gridCol w="295492">
                  <a:extLst>
                    <a:ext uri="{9D8B030D-6E8A-4147-A177-3AD203B41FA5}">
                      <a16:colId xmlns:a16="http://schemas.microsoft.com/office/drawing/2014/main" val="3765127706"/>
                    </a:ext>
                  </a:extLst>
                </a:gridCol>
                <a:gridCol w="295492">
                  <a:extLst>
                    <a:ext uri="{9D8B030D-6E8A-4147-A177-3AD203B41FA5}">
                      <a16:colId xmlns:a16="http://schemas.microsoft.com/office/drawing/2014/main" val="273303937"/>
                    </a:ext>
                  </a:extLst>
                </a:gridCol>
                <a:gridCol w="295492">
                  <a:extLst>
                    <a:ext uri="{9D8B030D-6E8A-4147-A177-3AD203B41FA5}">
                      <a16:colId xmlns:a16="http://schemas.microsoft.com/office/drawing/2014/main" val="1190134658"/>
                    </a:ext>
                  </a:extLst>
                </a:gridCol>
                <a:gridCol w="295492">
                  <a:extLst>
                    <a:ext uri="{9D8B030D-6E8A-4147-A177-3AD203B41FA5}">
                      <a16:colId xmlns:a16="http://schemas.microsoft.com/office/drawing/2014/main" val="1152288185"/>
                    </a:ext>
                  </a:extLst>
                </a:gridCol>
                <a:gridCol w="295492">
                  <a:extLst>
                    <a:ext uri="{9D8B030D-6E8A-4147-A177-3AD203B41FA5}">
                      <a16:colId xmlns:a16="http://schemas.microsoft.com/office/drawing/2014/main" val="1888319813"/>
                    </a:ext>
                  </a:extLst>
                </a:gridCol>
                <a:gridCol w="295492">
                  <a:extLst>
                    <a:ext uri="{9D8B030D-6E8A-4147-A177-3AD203B41FA5}">
                      <a16:colId xmlns:a16="http://schemas.microsoft.com/office/drawing/2014/main" val="3471064540"/>
                    </a:ext>
                  </a:extLst>
                </a:gridCol>
                <a:gridCol w="295492">
                  <a:extLst>
                    <a:ext uri="{9D8B030D-6E8A-4147-A177-3AD203B41FA5}">
                      <a16:colId xmlns:a16="http://schemas.microsoft.com/office/drawing/2014/main" val="670551899"/>
                    </a:ext>
                  </a:extLst>
                </a:gridCol>
                <a:gridCol w="295492">
                  <a:extLst>
                    <a:ext uri="{9D8B030D-6E8A-4147-A177-3AD203B41FA5}">
                      <a16:colId xmlns:a16="http://schemas.microsoft.com/office/drawing/2014/main" val="1100152168"/>
                    </a:ext>
                  </a:extLst>
                </a:gridCol>
                <a:gridCol w="295492">
                  <a:extLst>
                    <a:ext uri="{9D8B030D-6E8A-4147-A177-3AD203B41FA5}">
                      <a16:colId xmlns:a16="http://schemas.microsoft.com/office/drawing/2014/main" val="2165801595"/>
                    </a:ext>
                  </a:extLst>
                </a:gridCol>
                <a:gridCol w="295492">
                  <a:extLst>
                    <a:ext uri="{9D8B030D-6E8A-4147-A177-3AD203B41FA5}">
                      <a16:colId xmlns:a16="http://schemas.microsoft.com/office/drawing/2014/main" val="3981167565"/>
                    </a:ext>
                  </a:extLst>
                </a:gridCol>
                <a:gridCol w="295492">
                  <a:extLst>
                    <a:ext uri="{9D8B030D-6E8A-4147-A177-3AD203B41FA5}">
                      <a16:colId xmlns:a16="http://schemas.microsoft.com/office/drawing/2014/main" val="2740792325"/>
                    </a:ext>
                  </a:extLst>
                </a:gridCol>
                <a:gridCol w="295492">
                  <a:extLst>
                    <a:ext uri="{9D8B030D-6E8A-4147-A177-3AD203B41FA5}">
                      <a16:colId xmlns:a16="http://schemas.microsoft.com/office/drawing/2014/main" val="54782936"/>
                    </a:ext>
                  </a:extLst>
                </a:gridCol>
                <a:gridCol w="295492">
                  <a:extLst>
                    <a:ext uri="{9D8B030D-6E8A-4147-A177-3AD203B41FA5}">
                      <a16:colId xmlns:a16="http://schemas.microsoft.com/office/drawing/2014/main" val="154020430"/>
                    </a:ext>
                  </a:extLst>
                </a:gridCol>
                <a:gridCol w="295492">
                  <a:extLst>
                    <a:ext uri="{9D8B030D-6E8A-4147-A177-3AD203B41FA5}">
                      <a16:colId xmlns:a16="http://schemas.microsoft.com/office/drawing/2014/main" val="3928813835"/>
                    </a:ext>
                  </a:extLst>
                </a:gridCol>
                <a:gridCol w="295492">
                  <a:extLst>
                    <a:ext uri="{9D8B030D-6E8A-4147-A177-3AD203B41FA5}">
                      <a16:colId xmlns:a16="http://schemas.microsoft.com/office/drawing/2014/main" val="4210253042"/>
                    </a:ext>
                  </a:extLst>
                </a:gridCol>
                <a:gridCol w="295492">
                  <a:extLst>
                    <a:ext uri="{9D8B030D-6E8A-4147-A177-3AD203B41FA5}">
                      <a16:colId xmlns:a16="http://schemas.microsoft.com/office/drawing/2014/main" val="895787419"/>
                    </a:ext>
                  </a:extLst>
                </a:gridCol>
                <a:gridCol w="295492">
                  <a:extLst>
                    <a:ext uri="{9D8B030D-6E8A-4147-A177-3AD203B41FA5}">
                      <a16:colId xmlns:a16="http://schemas.microsoft.com/office/drawing/2014/main" val="3828388578"/>
                    </a:ext>
                  </a:extLst>
                </a:gridCol>
                <a:gridCol w="295492">
                  <a:extLst>
                    <a:ext uri="{9D8B030D-6E8A-4147-A177-3AD203B41FA5}">
                      <a16:colId xmlns:a16="http://schemas.microsoft.com/office/drawing/2014/main" val="742550205"/>
                    </a:ext>
                  </a:extLst>
                </a:gridCol>
                <a:gridCol w="295492">
                  <a:extLst>
                    <a:ext uri="{9D8B030D-6E8A-4147-A177-3AD203B41FA5}">
                      <a16:colId xmlns:a16="http://schemas.microsoft.com/office/drawing/2014/main" val="1408879461"/>
                    </a:ext>
                  </a:extLst>
                </a:gridCol>
              </a:tblGrid>
              <a:tr h="251292">
                <a:tc>
                  <a:txBody>
                    <a:bodyPr/>
                    <a:lstStyle/>
                    <a:p>
                      <a:r>
                        <a:rPr lang="en-US" sz="800" b="1" i="0" dirty="0">
                          <a:solidFill>
                            <a:schemeClr val="bg1"/>
                          </a:solidFill>
                          <a:latin typeface="+mj-lt"/>
                        </a:rPr>
                        <a:t>Sales </a:t>
                      </a:r>
                      <a:r>
                        <a:rPr lang="en-US" sz="800" b="1" i="0">
                          <a:solidFill>
                            <a:schemeClr val="bg1"/>
                          </a:solidFill>
                          <a:latin typeface="+mj-lt"/>
                        </a:rPr>
                        <a:t>Vs. 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rPr dirty="0"/>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rPr dirty="0"/>
                        <a:t>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helf </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Price</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Unit</a:t>
            </a:r>
          </a:p>
          <a:p>
            <a:pPr marL="0" marR="0" lvl="0" indent="0" defTabSz="685749"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Nexa Bold" panose="00000800000000000000" pitchFamily="2" charset="0"/>
              </a:rPr>
              <a:t>(</a:t>
            </a:r>
            <a:r>
              <a:rPr lang="en-US" sz="800" dirty="0">
                <a:solidFill>
                  <a:schemeClr val="tx1"/>
                </a:solidFill>
                <a:highlight>
                  <a:srgbClr val="FFFF00"/>
                </a:highlight>
                <a:latin typeface="Nexa Bold" panose="00000800000000000000" pitchFamily="2" charset="0"/>
              </a:rPr>
              <a:t>€</a:t>
            </a:r>
            <a:r>
              <a:rPr lang="en-US" sz="800" dirty="0">
                <a:solidFill>
                  <a:schemeClr val="tx1"/>
                </a:solidFill>
                <a:latin typeface="Nexa Bold" panose="00000800000000000000" pitchFamily="2" charset="0"/>
              </a:rPr>
              <a:t>)</a:t>
            </a:r>
            <a:endPar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endParaRP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Value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ales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M)</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8/11/2025</a:t>
            </a:fld>
            <a:endParaRPr lang="en-US" sz="500"/>
          </a:p>
        </p:txBody>
      </p:sp>
    </p:spTree>
    <p:extLst>
      <p:ext uri="{BB962C8B-B14F-4D97-AF65-F5344CB8AC3E}">
        <p14:creationId xmlns:p14="http://schemas.microsoft.com/office/powerpoint/2010/main" val="300288307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r>
              <a:rPr lang="en-US" dirty="0"/>
              <a:t>Inter-size Discount  | </a:t>
            </a:r>
            <a:r>
              <a:rPr lang="en-US" dirty="0">
                <a:highlight>
                  <a:srgbClr val="FFFF00"/>
                </a:highlight>
              </a:rPr>
              <a:t>Variant</a:t>
            </a:r>
            <a:r>
              <a:rPr lang="en-US" dirty="0"/>
              <a:t> | </a:t>
            </a:r>
            <a:r>
              <a:rPr lang="en-US" dirty="0">
                <a:highlight>
                  <a:srgbClr val="FFFF00"/>
                </a:highlight>
              </a:rPr>
              <a:t>National</a:t>
            </a:r>
            <a:r>
              <a:rPr lang="en-US" dirty="0"/>
              <a:t> | P12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2800073758"/>
              </p:ext>
            </p:extLst>
          </p:nvPr>
        </p:nvGraphicFramePr>
        <p:xfrm>
          <a:off x="555229" y="4265104"/>
          <a:ext cx="7441138"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95492">
                  <a:extLst>
                    <a:ext uri="{9D8B030D-6E8A-4147-A177-3AD203B41FA5}">
                      <a16:colId xmlns:a16="http://schemas.microsoft.com/office/drawing/2014/main" val="2253286919"/>
                    </a:ext>
                  </a:extLst>
                </a:gridCol>
                <a:gridCol w="295492">
                  <a:extLst>
                    <a:ext uri="{9D8B030D-6E8A-4147-A177-3AD203B41FA5}">
                      <a16:colId xmlns:a16="http://schemas.microsoft.com/office/drawing/2014/main" val="2739285047"/>
                    </a:ext>
                  </a:extLst>
                </a:gridCol>
                <a:gridCol w="295492">
                  <a:extLst>
                    <a:ext uri="{9D8B030D-6E8A-4147-A177-3AD203B41FA5}">
                      <a16:colId xmlns:a16="http://schemas.microsoft.com/office/drawing/2014/main" val="686050863"/>
                    </a:ext>
                  </a:extLst>
                </a:gridCol>
                <a:gridCol w="295492">
                  <a:extLst>
                    <a:ext uri="{9D8B030D-6E8A-4147-A177-3AD203B41FA5}">
                      <a16:colId xmlns:a16="http://schemas.microsoft.com/office/drawing/2014/main" val="3765127706"/>
                    </a:ext>
                  </a:extLst>
                </a:gridCol>
                <a:gridCol w="295492">
                  <a:extLst>
                    <a:ext uri="{9D8B030D-6E8A-4147-A177-3AD203B41FA5}">
                      <a16:colId xmlns:a16="http://schemas.microsoft.com/office/drawing/2014/main" val="273303937"/>
                    </a:ext>
                  </a:extLst>
                </a:gridCol>
                <a:gridCol w="295492">
                  <a:extLst>
                    <a:ext uri="{9D8B030D-6E8A-4147-A177-3AD203B41FA5}">
                      <a16:colId xmlns:a16="http://schemas.microsoft.com/office/drawing/2014/main" val="1190134658"/>
                    </a:ext>
                  </a:extLst>
                </a:gridCol>
                <a:gridCol w="295492">
                  <a:extLst>
                    <a:ext uri="{9D8B030D-6E8A-4147-A177-3AD203B41FA5}">
                      <a16:colId xmlns:a16="http://schemas.microsoft.com/office/drawing/2014/main" val="1152288185"/>
                    </a:ext>
                  </a:extLst>
                </a:gridCol>
                <a:gridCol w="295492">
                  <a:extLst>
                    <a:ext uri="{9D8B030D-6E8A-4147-A177-3AD203B41FA5}">
                      <a16:colId xmlns:a16="http://schemas.microsoft.com/office/drawing/2014/main" val="1888319813"/>
                    </a:ext>
                  </a:extLst>
                </a:gridCol>
                <a:gridCol w="295492">
                  <a:extLst>
                    <a:ext uri="{9D8B030D-6E8A-4147-A177-3AD203B41FA5}">
                      <a16:colId xmlns:a16="http://schemas.microsoft.com/office/drawing/2014/main" val="3471064540"/>
                    </a:ext>
                  </a:extLst>
                </a:gridCol>
                <a:gridCol w="295492">
                  <a:extLst>
                    <a:ext uri="{9D8B030D-6E8A-4147-A177-3AD203B41FA5}">
                      <a16:colId xmlns:a16="http://schemas.microsoft.com/office/drawing/2014/main" val="670551899"/>
                    </a:ext>
                  </a:extLst>
                </a:gridCol>
                <a:gridCol w="295492">
                  <a:extLst>
                    <a:ext uri="{9D8B030D-6E8A-4147-A177-3AD203B41FA5}">
                      <a16:colId xmlns:a16="http://schemas.microsoft.com/office/drawing/2014/main" val="1100152168"/>
                    </a:ext>
                  </a:extLst>
                </a:gridCol>
                <a:gridCol w="295492">
                  <a:extLst>
                    <a:ext uri="{9D8B030D-6E8A-4147-A177-3AD203B41FA5}">
                      <a16:colId xmlns:a16="http://schemas.microsoft.com/office/drawing/2014/main" val="2165801595"/>
                    </a:ext>
                  </a:extLst>
                </a:gridCol>
                <a:gridCol w="295492">
                  <a:extLst>
                    <a:ext uri="{9D8B030D-6E8A-4147-A177-3AD203B41FA5}">
                      <a16:colId xmlns:a16="http://schemas.microsoft.com/office/drawing/2014/main" val="3981167565"/>
                    </a:ext>
                  </a:extLst>
                </a:gridCol>
                <a:gridCol w="295492">
                  <a:extLst>
                    <a:ext uri="{9D8B030D-6E8A-4147-A177-3AD203B41FA5}">
                      <a16:colId xmlns:a16="http://schemas.microsoft.com/office/drawing/2014/main" val="2740792325"/>
                    </a:ext>
                  </a:extLst>
                </a:gridCol>
                <a:gridCol w="295492">
                  <a:extLst>
                    <a:ext uri="{9D8B030D-6E8A-4147-A177-3AD203B41FA5}">
                      <a16:colId xmlns:a16="http://schemas.microsoft.com/office/drawing/2014/main" val="54782936"/>
                    </a:ext>
                  </a:extLst>
                </a:gridCol>
                <a:gridCol w="295492">
                  <a:extLst>
                    <a:ext uri="{9D8B030D-6E8A-4147-A177-3AD203B41FA5}">
                      <a16:colId xmlns:a16="http://schemas.microsoft.com/office/drawing/2014/main" val="154020430"/>
                    </a:ext>
                  </a:extLst>
                </a:gridCol>
                <a:gridCol w="295492">
                  <a:extLst>
                    <a:ext uri="{9D8B030D-6E8A-4147-A177-3AD203B41FA5}">
                      <a16:colId xmlns:a16="http://schemas.microsoft.com/office/drawing/2014/main" val="3928813835"/>
                    </a:ext>
                  </a:extLst>
                </a:gridCol>
                <a:gridCol w="295492">
                  <a:extLst>
                    <a:ext uri="{9D8B030D-6E8A-4147-A177-3AD203B41FA5}">
                      <a16:colId xmlns:a16="http://schemas.microsoft.com/office/drawing/2014/main" val="4210253042"/>
                    </a:ext>
                  </a:extLst>
                </a:gridCol>
                <a:gridCol w="295492">
                  <a:extLst>
                    <a:ext uri="{9D8B030D-6E8A-4147-A177-3AD203B41FA5}">
                      <a16:colId xmlns:a16="http://schemas.microsoft.com/office/drawing/2014/main" val="895787419"/>
                    </a:ext>
                  </a:extLst>
                </a:gridCol>
                <a:gridCol w="295492">
                  <a:extLst>
                    <a:ext uri="{9D8B030D-6E8A-4147-A177-3AD203B41FA5}">
                      <a16:colId xmlns:a16="http://schemas.microsoft.com/office/drawing/2014/main" val="3828388578"/>
                    </a:ext>
                  </a:extLst>
                </a:gridCol>
                <a:gridCol w="295492">
                  <a:extLst>
                    <a:ext uri="{9D8B030D-6E8A-4147-A177-3AD203B41FA5}">
                      <a16:colId xmlns:a16="http://schemas.microsoft.com/office/drawing/2014/main" val="742550205"/>
                    </a:ext>
                  </a:extLst>
                </a:gridCol>
                <a:gridCol w="295492">
                  <a:extLst>
                    <a:ext uri="{9D8B030D-6E8A-4147-A177-3AD203B41FA5}">
                      <a16:colId xmlns:a16="http://schemas.microsoft.com/office/drawing/2014/main" val="1408879461"/>
                    </a:ext>
                  </a:extLst>
                </a:gridCol>
              </a:tblGrid>
              <a:tr h="251292">
                <a:tc>
                  <a:txBody>
                    <a:bodyPr/>
                    <a:lstStyle/>
                    <a:p>
                      <a:r>
                        <a:rPr lang="en-US" sz="800" b="1" i="0" dirty="0">
                          <a:solidFill>
                            <a:schemeClr val="bg1"/>
                          </a:solidFill>
                          <a:latin typeface="+mj-lt"/>
                        </a:rPr>
                        <a:t>Sales </a:t>
                      </a:r>
                      <a:r>
                        <a:rPr lang="en-US" sz="800" b="1" i="0">
                          <a:solidFill>
                            <a:schemeClr val="bg1"/>
                          </a:solidFill>
                          <a:latin typeface="+mj-lt"/>
                        </a:rPr>
                        <a:t>Vs. 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rPr dirty="0"/>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rPr dirty="0"/>
                        <a:t>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helf </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Price</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Unit</a:t>
            </a:r>
          </a:p>
          <a:p>
            <a:pPr marL="0" marR="0" lvl="0" indent="0" defTabSz="685749"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Nexa Bold" panose="00000800000000000000" pitchFamily="2" charset="0"/>
              </a:rPr>
              <a:t>(</a:t>
            </a:r>
            <a:r>
              <a:rPr lang="en-US" sz="800" dirty="0">
                <a:solidFill>
                  <a:schemeClr val="tx1"/>
                </a:solidFill>
                <a:highlight>
                  <a:srgbClr val="FFFF00"/>
                </a:highlight>
                <a:latin typeface="Nexa Bold" panose="00000800000000000000" pitchFamily="2" charset="0"/>
              </a:rPr>
              <a:t>€</a:t>
            </a:r>
            <a:r>
              <a:rPr lang="en-US" sz="800" dirty="0">
                <a:solidFill>
                  <a:schemeClr val="tx1"/>
                </a:solidFill>
                <a:latin typeface="Nexa Bold" panose="00000800000000000000" pitchFamily="2" charset="0"/>
              </a:rPr>
              <a:t>)</a:t>
            </a:r>
            <a:endPar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endParaRP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Value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ales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M)</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8/11/2025</a:t>
            </a:fld>
            <a:endParaRPr lang="en-US" sz="500"/>
          </a:p>
        </p:txBody>
      </p:sp>
    </p:spTree>
    <p:extLst>
      <p:ext uri="{BB962C8B-B14F-4D97-AF65-F5344CB8AC3E}">
        <p14:creationId xmlns:p14="http://schemas.microsoft.com/office/powerpoint/2010/main" val="334557212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r>
              <a:rPr lang="en-US" dirty="0"/>
              <a:t>Inter-size Discount  | </a:t>
            </a:r>
            <a:r>
              <a:rPr lang="en-US" dirty="0">
                <a:highlight>
                  <a:srgbClr val="FFFF00"/>
                </a:highlight>
              </a:rPr>
              <a:t>Variant</a:t>
            </a:r>
            <a:r>
              <a:rPr lang="en-US" dirty="0"/>
              <a:t> | </a:t>
            </a:r>
            <a:r>
              <a:rPr lang="en-US" dirty="0">
                <a:highlight>
                  <a:srgbClr val="FFFF00"/>
                </a:highlight>
              </a:rPr>
              <a:t>National</a:t>
            </a:r>
            <a:r>
              <a:rPr lang="en-US" dirty="0"/>
              <a:t> | P12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2800073758"/>
              </p:ext>
            </p:extLst>
          </p:nvPr>
        </p:nvGraphicFramePr>
        <p:xfrm>
          <a:off x="555229" y="4265104"/>
          <a:ext cx="7441138"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95492">
                  <a:extLst>
                    <a:ext uri="{9D8B030D-6E8A-4147-A177-3AD203B41FA5}">
                      <a16:colId xmlns:a16="http://schemas.microsoft.com/office/drawing/2014/main" val="2253286919"/>
                    </a:ext>
                  </a:extLst>
                </a:gridCol>
                <a:gridCol w="295492">
                  <a:extLst>
                    <a:ext uri="{9D8B030D-6E8A-4147-A177-3AD203B41FA5}">
                      <a16:colId xmlns:a16="http://schemas.microsoft.com/office/drawing/2014/main" val="2739285047"/>
                    </a:ext>
                  </a:extLst>
                </a:gridCol>
                <a:gridCol w="295492">
                  <a:extLst>
                    <a:ext uri="{9D8B030D-6E8A-4147-A177-3AD203B41FA5}">
                      <a16:colId xmlns:a16="http://schemas.microsoft.com/office/drawing/2014/main" val="686050863"/>
                    </a:ext>
                  </a:extLst>
                </a:gridCol>
                <a:gridCol w="295492">
                  <a:extLst>
                    <a:ext uri="{9D8B030D-6E8A-4147-A177-3AD203B41FA5}">
                      <a16:colId xmlns:a16="http://schemas.microsoft.com/office/drawing/2014/main" val="3765127706"/>
                    </a:ext>
                  </a:extLst>
                </a:gridCol>
                <a:gridCol w="295492">
                  <a:extLst>
                    <a:ext uri="{9D8B030D-6E8A-4147-A177-3AD203B41FA5}">
                      <a16:colId xmlns:a16="http://schemas.microsoft.com/office/drawing/2014/main" val="273303937"/>
                    </a:ext>
                  </a:extLst>
                </a:gridCol>
                <a:gridCol w="295492">
                  <a:extLst>
                    <a:ext uri="{9D8B030D-6E8A-4147-A177-3AD203B41FA5}">
                      <a16:colId xmlns:a16="http://schemas.microsoft.com/office/drawing/2014/main" val="1190134658"/>
                    </a:ext>
                  </a:extLst>
                </a:gridCol>
                <a:gridCol w="295492">
                  <a:extLst>
                    <a:ext uri="{9D8B030D-6E8A-4147-A177-3AD203B41FA5}">
                      <a16:colId xmlns:a16="http://schemas.microsoft.com/office/drawing/2014/main" val="1152288185"/>
                    </a:ext>
                  </a:extLst>
                </a:gridCol>
                <a:gridCol w="295492">
                  <a:extLst>
                    <a:ext uri="{9D8B030D-6E8A-4147-A177-3AD203B41FA5}">
                      <a16:colId xmlns:a16="http://schemas.microsoft.com/office/drawing/2014/main" val="1888319813"/>
                    </a:ext>
                  </a:extLst>
                </a:gridCol>
                <a:gridCol w="295492">
                  <a:extLst>
                    <a:ext uri="{9D8B030D-6E8A-4147-A177-3AD203B41FA5}">
                      <a16:colId xmlns:a16="http://schemas.microsoft.com/office/drawing/2014/main" val="3471064540"/>
                    </a:ext>
                  </a:extLst>
                </a:gridCol>
                <a:gridCol w="295492">
                  <a:extLst>
                    <a:ext uri="{9D8B030D-6E8A-4147-A177-3AD203B41FA5}">
                      <a16:colId xmlns:a16="http://schemas.microsoft.com/office/drawing/2014/main" val="670551899"/>
                    </a:ext>
                  </a:extLst>
                </a:gridCol>
                <a:gridCol w="295492">
                  <a:extLst>
                    <a:ext uri="{9D8B030D-6E8A-4147-A177-3AD203B41FA5}">
                      <a16:colId xmlns:a16="http://schemas.microsoft.com/office/drawing/2014/main" val="1100152168"/>
                    </a:ext>
                  </a:extLst>
                </a:gridCol>
                <a:gridCol w="295492">
                  <a:extLst>
                    <a:ext uri="{9D8B030D-6E8A-4147-A177-3AD203B41FA5}">
                      <a16:colId xmlns:a16="http://schemas.microsoft.com/office/drawing/2014/main" val="2165801595"/>
                    </a:ext>
                  </a:extLst>
                </a:gridCol>
                <a:gridCol w="295492">
                  <a:extLst>
                    <a:ext uri="{9D8B030D-6E8A-4147-A177-3AD203B41FA5}">
                      <a16:colId xmlns:a16="http://schemas.microsoft.com/office/drawing/2014/main" val="3981167565"/>
                    </a:ext>
                  </a:extLst>
                </a:gridCol>
                <a:gridCol w="295492">
                  <a:extLst>
                    <a:ext uri="{9D8B030D-6E8A-4147-A177-3AD203B41FA5}">
                      <a16:colId xmlns:a16="http://schemas.microsoft.com/office/drawing/2014/main" val="2740792325"/>
                    </a:ext>
                  </a:extLst>
                </a:gridCol>
                <a:gridCol w="295492">
                  <a:extLst>
                    <a:ext uri="{9D8B030D-6E8A-4147-A177-3AD203B41FA5}">
                      <a16:colId xmlns:a16="http://schemas.microsoft.com/office/drawing/2014/main" val="54782936"/>
                    </a:ext>
                  </a:extLst>
                </a:gridCol>
                <a:gridCol w="295492">
                  <a:extLst>
                    <a:ext uri="{9D8B030D-6E8A-4147-A177-3AD203B41FA5}">
                      <a16:colId xmlns:a16="http://schemas.microsoft.com/office/drawing/2014/main" val="154020430"/>
                    </a:ext>
                  </a:extLst>
                </a:gridCol>
                <a:gridCol w="295492">
                  <a:extLst>
                    <a:ext uri="{9D8B030D-6E8A-4147-A177-3AD203B41FA5}">
                      <a16:colId xmlns:a16="http://schemas.microsoft.com/office/drawing/2014/main" val="3928813835"/>
                    </a:ext>
                  </a:extLst>
                </a:gridCol>
                <a:gridCol w="295492">
                  <a:extLst>
                    <a:ext uri="{9D8B030D-6E8A-4147-A177-3AD203B41FA5}">
                      <a16:colId xmlns:a16="http://schemas.microsoft.com/office/drawing/2014/main" val="4210253042"/>
                    </a:ext>
                  </a:extLst>
                </a:gridCol>
                <a:gridCol w="295492">
                  <a:extLst>
                    <a:ext uri="{9D8B030D-6E8A-4147-A177-3AD203B41FA5}">
                      <a16:colId xmlns:a16="http://schemas.microsoft.com/office/drawing/2014/main" val="895787419"/>
                    </a:ext>
                  </a:extLst>
                </a:gridCol>
                <a:gridCol w="295492">
                  <a:extLst>
                    <a:ext uri="{9D8B030D-6E8A-4147-A177-3AD203B41FA5}">
                      <a16:colId xmlns:a16="http://schemas.microsoft.com/office/drawing/2014/main" val="3828388578"/>
                    </a:ext>
                  </a:extLst>
                </a:gridCol>
                <a:gridCol w="295492">
                  <a:extLst>
                    <a:ext uri="{9D8B030D-6E8A-4147-A177-3AD203B41FA5}">
                      <a16:colId xmlns:a16="http://schemas.microsoft.com/office/drawing/2014/main" val="742550205"/>
                    </a:ext>
                  </a:extLst>
                </a:gridCol>
                <a:gridCol w="295492">
                  <a:extLst>
                    <a:ext uri="{9D8B030D-6E8A-4147-A177-3AD203B41FA5}">
                      <a16:colId xmlns:a16="http://schemas.microsoft.com/office/drawing/2014/main" val="1408879461"/>
                    </a:ext>
                  </a:extLst>
                </a:gridCol>
              </a:tblGrid>
              <a:tr h="251292">
                <a:tc>
                  <a:txBody>
                    <a:bodyPr/>
                    <a:lstStyle/>
                    <a:p>
                      <a:r>
                        <a:rPr lang="en-US" sz="800" b="1" i="0" dirty="0">
                          <a:solidFill>
                            <a:schemeClr val="bg1"/>
                          </a:solidFill>
                          <a:latin typeface="+mj-lt"/>
                        </a:rPr>
                        <a:t>Sales </a:t>
                      </a:r>
                      <a:r>
                        <a:rPr lang="en-US" sz="800" b="1" i="0">
                          <a:solidFill>
                            <a:schemeClr val="bg1"/>
                          </a:solidFill>
                          <a:latin typeface="+mj-lt"/>
                        </a:rPr>
                        <a:t>Vs. 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rPr dirty="0"/>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rPr dirty="0"/>
                        <a:t>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helf </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Price</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Unit</a:t>
            </a:r>
          </a:p>
          <a:p>
            <a:pPr marL="0" marR="0" lvl="0" indent="0" defTabSz="685749"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Nexa Bold" panose="00000800000000000000" pitchFamily="2" charset="0"/>
              </a:rPr>
              <a:t>(</a:t>
            </a:r>
            <a:r>
              <a:rPr lang="en-US" sz="800" dirty="0">
                <a:solidFill>
                  <a:schemeClr val="tx1"/>
                </a:solidFill>
                <a:highlight>
                  <a:srgbClr val="FFFF00"/>
                </a:highlight>
                <a:latin typeface="Nexa Bold" panose="00000800000000000000" pitchFamily="2" charset="0"/>
              </a:rPr>
              <a:t>€</a:t>
            </a:r>
            <a:r>
              <a:rPr lang="en-US" sz="800" dirty="0">
                <a:solidFill>
                  <a:schemeClr val="tx1"/>
                </a:solidFill>
                <a:latin typeface="Nexa Bold" panose="00000800000000000000" pitchFamily="2" charset="0"/>
              </a:rPr>
              <a:t>)</a:t>
            </a:r>
            <a:endPar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endParaRP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Value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ales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M)</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8/11/2025</a:t>
            </a:fld>
            <a:endParaRPr lang="en-US" sz="500"/>
          </a:p>
        </p:txBody>
      </p:sp>
    </p:spTree>
    <p:extLst>
      <p:ext uri="{BB962C8B-B14F-4D97-AF65-F5344CB8AC3E}">
        <p14:creationId xmlns:p14="http://schemas.microsoft.com/office/powerpoint/2010/main" val="34890836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r>
              <a:rPr lang="en-US" dirty="0"/>
              <a:t>Inter-size Discount  | </a:t>
            </a:r>
            <a:r>
              <a:rPr lang="en-US" dirty="0">
                <a:highlight>
                  <a:srgbClr val="FFFF00"/>
                </a:highlight>
              </a:rPr>
              <a:t>Variant</a:t>
            </a:r>
            <a:r>
              <a:rPr lang="en-US" dirty="0"/>
              <a:t> | </a:t>
            </a:r>
            <a:r>
              <a:rPr lang="en-US" dirty="0">
                <a:highlight>
                  <a:srgbClr val="FFFF00"/>
                </a:highlight>
              </a:rPr>
              <a:t>National</a:t>
            </a:r>
            <a:r>
              <a:rPr lang="en-US" dirty="0"/>
              <a:t> | P12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2800073758"/>
              </p:ext>
            </p:extLst>
          </p:nvPr>
        </p:nvGraphicFramePr>
        <p:xfrm>
          <a:off x="555229" y="4265104"/>
          <a:ext cx="7441138"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95492">
                  <a:extLst>
                    <a:ext uri="{9D8B030D-6E8A-4147-A177-3AD203B41FA5}">
                      <a16:colId xmlns:a16="http://schemas.microsoft.com/office/drawing/2014/main" val="2253286919"/>
                    </a:ext>
                  </a:extLst>
                </a:gridCol>
                <a:gridCol w="295492">
                  <a:extLst>
                    <a:ext uri="{9D8B030D-6E8A-4147-A177-3AD203B41FA5}">
                      <a16:colId xmlns:a16="http://schemas.microsoft.com/office/drawing/2014/main" val="2739285047"/>
                    </a:ext>
                  </a:extLst>
                </a:gridCol>
                <a:gridCol w="295492">
                  <a:extLst>
                    <a:ext uri="{9D8B030D-6E8A-4147-A177-3AD203B41FA5}">
                      <a16:colId xmlns:a16="http://schemas.microsoft.com/office/drawing/2014/main" val="686050863"/>
                    </a:ext>
                  </a:extLst>
                </a:gridCol>
                <a:gridCol w="295492">
                  <a:extLst>
                    <a:ext uri="{9D8B030D-6E8A-4147-A177-3AD203B41FA5}">
                      <a16:colId xmlns:a16="http://schemas.microsoft.com/office/drawing/2014/main" val="3765127706"/>
                    </a:ext>
                  </a:extLst>
                </a:gridCol>
                <a:gridCol w="295492">
                  <a:extLst>
                    <a:ext uri="{9D8B030D-6E8A-4147-A177-3AD203B41FA5}">
                      <a16:colId xmlns:a16="http://schemas.microsoft.com/office/drawing/2014/main" val="273303937"/>
                    </a:ext>
                  </a:extLst>
                </a:gridCol>
                <a:gridCol w="295492">
                  <a:extLst>
                    <a:ext uri="{9D8B030D-6E8A-4147-A177-3AD203B41FA5}">
                      <a16:colId xmlns:a16="http://schemas.microsoft.com/office/drawing/2014/main" val="1190134658"/>
                    </a:ext>
                  </a:extLst>
                </a:gridCol>
                <a:gridCol w="295492">
                  <a:extLst>
                    <a:ext uri="{9D8B030D-6E8A-4147-A177-3AD203B41FA5}">
                      <a16:colId xmlns:a16="http://schemas.microsoft.com/office/drawing/2014/main" val="1152288185"/>
                    </a:ext>
                  </a:extLst>
                </a:gridCol>
                <a:gridCol w="295492">
                  <a:extLst>
                    <a:ext uri="{9D8B030D-6E8A-4147-A177-3AD203B41FA5}">
                      <a16:colId xmlns:a16="http://schemas.microsoft.com/office/drawing/2014/main" val="1888319813"/>
                    </a:ext>
                  </a:extLst>
                </a:gridCol>
                <a:gridCol w="295492">
                  <a:extLst>
                    <a:ext uri="{9D8B030D-6E8A-4147-A177-3AD203B41FA5}">
                      <a16:colId xmlns:a16="http://schemas.microsoft.com/office/drawing/2014/main" val="3471064540"/>
                    </a:ext>
                  </a:extLst>
                </a:gridCol>
                <a:gridCol w="295492">
                  <a:extLst>
                    <a:ext uri="{9D8B030D-6E8A-4147-A177-3AD203B41FA5}">
                      <a16:colId xmlns:a16="http://schemas.microsoft.com/office/drawing/2014/main" val="670551899"/>
                    </a:ext>
                  </a:extLst>
                </a:gridCol>
                <a:gridCol w="295492">
                  <a:extLst>
                    <a:ext uri="{9D8B030D-6E8A-4147-A177-3AD203B41FA5}">
                      <a16:colId xmlns:a16="http://schemas.microsoft.com/office/drawing/2014/main" val="1100152168"/>
                    </a:ext>
                  </a:extLst>
                </a:gridCol>
                <a:gridCol w="295492">
                  <a:extLst>
                    <a:ext uri="{9D8B030D-6E8A-4147-A177-3AD203B41FA5}">
                      <a16:colId xmlns:a16="http://schemas.microsoft.com/office/drawing/2014/main" val="2165801595"/>
                    </a:ext>
                  </a:extLst>
                </a:gridCol>
                <a:gridCol w="295492">
                  <a:extLst>
                    <a:ext uri="{9D8B030D-6E8A-4147-A177-3AD203B41FA5}">
                      <a16:colId xmlns:a16="http://schemas.microsoft.com/office/drawing/2014/main" val="3981167565"/>
                    </a:ext>
                  </a:extLst>
                </a:gridCol>
                <a:gridCol w="295492">
                  <a:extLst>
                    <a:ext uri="{9D8B030D-6E8A-4147-A177-3AD203B41FA5}">
                      <a16:colId xmlns:a16="http://schemas.microsoft.com/office/drawing/2014/main" val="2740792325"/>
                    </a:ext>
                  </a:extLst>
                </a:gridCol>
                <a:gridCol w="295492">
                  <a:extLst>
                    <a:ext uri="{9D8B030D-6E8A-4147-A177-3AD203B41FA5}">
                      <a16:colId xmlns:a16="http://schemas.microsoft.com/office/drawing/2014/main" val="54782936"/>
                    </a:ext>
                  </a:extLst>
                </a:gridCol>
                <a:gridCol w="295492">
                  <a:extLst>
                    <a:ext uri="{9D8B030D-6E8A-4147-A177-3AD203B41FA5}">
                      <a16:colId xmlns:a16="http://schemas.microsoft.com/office/drawing/2014/main" val="154020430"/>
                    </a:ext>
                  </a:extLst>
                </a:gridCol>
                <a:gridCol w="295492">
                  <a:extLst>
                    <a:ext uri="{9D8B030D-6E8A-4147-A177-3AD203B41FA5}">
                      <a16:colId xmlns:a16="http://schemas.microsoft.com/office/drawing/2014/main" val="3928813835"/>
                    </a:ext>
                  </a:extLst>
                </a:gridCol>
                <a:gridCol w="295492">
                  <a:extLst>
                    <a:ext uri="{9D8B030D-6E8A-4147-A177-3AD203B41FA5}">
                      <a16:colId xmlns:a16="http://schemas.microsoft.com/office/drawing/2014/main" val="4210253042"/>
                    </a:ext>
                  </a:extLst>
                </a:gridCol>
                <a:gridCol w="295492">
                  <a:extLst>
                    <a:ext uri="{9D8B030D-6E8A-4147-A177-3AD203B41FA5}">
                      <a16:colId xmlns:a16="http://schemas.microsoft.com/office/drawing/2014/main" val="895787419"/>
                    </a:ext>
                  </a:extLst>
                </a:gridCol>
                <a:gridCol w="295492">
                  <a:extLst>
                    <a:ext uri="{9D8B030D-6E8A-4147-A177-3AD203B41FA5}">
                      <a16:colId xmlns:a16="http://schemas.microsoft.com/office/drawing/2014/main" val="3828388578"/>
                    </a:ext>
                  </a:extLst>
                </a:gridCol>
                <a:gridCol w="295492">
                  <a:extLst>
                    <a:ext uri="{9D8B030D-6E8A-4147-A177-3AD203B41FA5}">
                      <a16:colId xmlns:a16="http://schemas.microsoft.com/office/drawing/2014/main" val="742550205"/>
                    </a:ext>
                  </a:extLst>
                </a:gridCol>
                <a:gridCol w="295492">
                  <a:extLst>
                    <a:ext uri="{9D8B030D-6E8A-4147-A177-3AD203B41FA5}">
                      <a16:colId xmlns:a16="http://schemas.microsoft.com/office/drawing/2014/main" val="1408879461"/>
                    </a:ext>
                  </a:extLst>
                </a:gridCol>
              </a:tblGrid>
              <a:tr h="251292">
                <a:tc>
                  <a:txBody>
                    <a:bodyPr/>
                    <a:lstStyle/>
                    <a:p>
                      <a:r>
                        <a:rPr lang="en-US" sz="800" b="1" i="0" dirty="0">
                          <a:solidFill>
                            <a:schemeClr val="bg1"/>
                          </a:solidFill>
                          <a:latin typeface="+mj-lt"/>
                        </a:rPr>
                        <a:t>Sales </a:t>
                      </a:r>
                      <a:r>
                        <a:rPr lang="en-US" sz="800" b="1" i="0">
                          <a:solidFill>
                            <a:schemeClr val="bg1"/>
                          </a:solidFill>
                          <a:latin typeface="+mj-lt"/>
                        </a:rPr>
                        <a:t>Vs. 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rPr dirty="0"/>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rPr dirty="0"/>
                        <a:t>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helf </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Price</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Unit</a:t>
            </a:r>
          </a:p>
          <a:p>
            <a:pPr marL="0" marR="0" lvl="0" indent="0" defTabSz="685749"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Nexa Bold" panose="00000800000000000000" pitchFamily="2" charset="0"/>
              </a:rPr>
              <a:t>(</a:t>
            </a:r>
            <a:r>
              <a:rPr lang="en-US" sz="800" dirty="0">
                <a:solidFill>
                  <a:schemeClr val="tx1"/>
                </a:solidFill>
                <a:highlight>
                  <a:srgbClr val="FFFF00"/>
                </a:highlight>
                <a:latin typeface="Nexa Bold" panose="00000800000000000000" pitchFamily="2" charset="0"/>
              </a:rPr>
              <a:t>€</a:t>
            </a:r>
            <a:r>
              <a:rPr lang="en-US" sz="800" dirty="0">
                <a:solidFill>
                  <a:schemeClr val="tx1"/>
                </a:solidFill>
                <a:latin typeface="Nexa Bold" panose="00000800000000000000" pitchFamily="2" charset="0"/>
              </a:rPr>
              <a:t>)</a:t>
            </a:r>
            <a:endPar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endParaRP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Value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ales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M)</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8/11/2025</a:t>
            </a:fld>
            <a:endParaRPr lang="en-US" sz="500"/>
          </a:p>
        </p:txBody>
      </p:sp>
    </p:spTree>
    <p:extLst>
      <p:ext uri="{BB962C8B-B14F-4D97-AF65-F5344CB8AC3E}">
        <p14:creationId xmlns:p14="http://schemas.microsoft.com/office/powerpoint/2010/main" val="230922473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r>
              <a:rPr lang="en-US" dirty="0"/>
              <a:t>Inter-size Discount  | </a:t>
            </a:r>
            <a:r>
              <a:rPr lang="en-US" dirty="0">
                <a:highlight>
                  <a:srgbClr val="FFFF00"/>
                </a:highlight>
              </a:rPr>
              <a:t>Variant</a:t>
            </a:r>
            <a:r>
              <a:rPr lang="en-US" dirty="0"/>
              <a:t> | </a:t>
            </a:r>
            <a:r>
              <a:rPr lang="en-US" dirty="0">
                <a:highlight>
                  <a:srgbClr val="FFFF00"/>
                </a:highlight>
              </a:rPr>
              <a:t>National</a:t>
            </a:r>
            <a:r>
              <a:rPr lang="en-US" dirty="0"/>
              <a:t> | P12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2800073758"/>
              </p:ext>
            </p:extLst>
          </p:nvPr>
        </p:nvGraphicFramePr>
        <p:xfrm>
          <a:off x="555229" y="4265104"/>
          <a:ext cx="7441138"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95492">
                  <a:extLst>
                    <a:ext uri="{9D8B030D-6E8A-4147-A177-3AD203B41FA5}">
                      <a16:colId xmlns:a16="http://schemas.microsoft.com/office/drawing/2014/main" val="2253286919"/>
                    </a:ext>
                  </a:extLst>
                </a:gridCol>
                <a:gridCol w="295492">
                  <a:extLst>
                    <a:ext uri="{9D8B030D-6E8A-4147-A177-3AD203B41FA5}">
                      <a16:colId xmlns:a16="http://schemas.microsoft.com/office/drawing/2014/main" val="2739285047"/>
                    </a:ext>
                  </a:extLst>
                </a:gridCol>
                <a:gridCol w="295492">
                  <a:extLst>
                    <a:ext uri="{9D8B030D-6E8A-4147-A177-3AD203B41FA5}">
                      <a16:colId xmlns:a16="http://schemas.microsoft.com/office/drawing/2014/main" val="686050863"/>
                    </a:ext>
                  </a:extLst>
                </a:gridCol>
                <a:gridCol w="295492">
                  <a:extLst>
                    <a:ext uri="{9D8B030D-6E8A-4147-A177-3AD203B41FA5}">
                      <a16:colId xmlns:a16="http://schemas.microsoft.com/office/drawing/2014/main" val="3765127706"/>
                    </a:ext>
                  </a:extLst>
                </a:gridCol>
                <a:gridCol w="295492">
                  <a:extLst>
                    <a:ext uri="{9D8B030D-6E8A-4147-A177-3AD203B41FA5}">
                      <a16:colId xmlns:a16="http://schemas.microsoft.com/office/drawing/2014/main" val="273303937"/>
                    </a:ext>
                  </a:extLst>
                </a:gridCol>
                <a:gridCol w="295492">
                  <a:extLst>
                    <a:ext uri="{9D8B030D-6E8A-4147-A177-3AD203B41FA5}">
                      <a16:colId xmlns:a16="http://schemas.microsoft.com/office/drawing/2014/main" val="1190134658"/>
                    </a:ext>
                  </a:extLst>
                </a:gridCol>
                <a:gridCol w="295492">
                  <a:extLst>
                    <a:ext uri="{9D8B030D-6E8A-4147-A177-3AD203B41FA5}">
                      <a16:colId xmlns:a16="http://schemas.microsoft.com/office/drawing/2014/main" val="1152288185"/>
                    </a:ext>
                  </a:extLst>
                </a:gridCol>
                <a:gridCol w="295492">
                  <a:extLst>
                    <a:ext uri="{9D8B030D-6E8A-4147-A177-3AD203B41FA5}">
                      <a16:colId xmlns:a16="http://schemas.microsoft.com/office/drawing/2014/main" val="1888319813"/>
                    </a:ext>
                  </a:extLst>
                </a:gridCol>
                <a:gridCol w="295492">
                  <a:extLst>
                    <a:ext uri="{9D8B030D-6E8A-4147-A177-3AD203B41FA5}">
                      <a16:colId xmlns:a16="http://schemas.microsoft.com/office/drawing/2014/main" val="3471064540"/>
                    </a:ext>
                  </a:extLst>
                </a:gridCol>
                <a:gridCol w="295492">
                  <a:extLst>
                    <a:ext uri="{9D8B030D-6E8A-4147-A177-3AD203B41FA5}">
                      <a16:colId xmlns:a16="http://schemas.microsoft.com/office/drawing/2014/main" val="670551899"/>
                    </a:ext>
                  </a:extLst>
                </a:gridCol>
                <a:gridCol w="295492">
                  <a:extLst>
                    <a:ext uri="{9D8B030D-6E8A-4147-A177-3AD203B41FA5}">
                      <a16:colId xmlns:a16="http://schemas.microsoft.com/office/drawing/2014/main" val="1100152168"/>
                    </a:ext>
                  </a:extLst>
                </a:gridCol>
                <a:gridCol w="295492">
                  <a:extLst>
                    <a:ext uri="{9D8B030D-6E8A-4147-A177-3AD203B41FA5}">
                      <a16:colId xmlns:a16="http://schemas.microsoft.com/office/drawing/2014/main" val="2165801595"/>
                    </a:ext>
                  </a:extLst>
                </a:gridCol>
                <a:gridCol w="295492">
                  <a:extLst>
                    <a:ext uri="{9D8B030D-6E8A-4147-A177-3AD203B41FA5}">
                      <a16:colId xmlns:a16="http://schemas.microsoft.com/office/drawing/2014/main" val="3981167565"/>
                    </a:ext>
                  </a:extLst>
                </a:gridCol>
                <a:gridCol w="295492">
                  <a:extLst>
                    <a:ext uri="{9D8B030D-6E8A-4147-A177-3AD203B41FA5}">
                      <a16:colId xmlns:a16="http://schemas.microsoft.com/office/drawing/2014/main" val="2740792325"/>
                    </a:ext>
                  </a:extLst>
                </a:gridCol>
                <a:gridCol w="295492">
                  <a:extLst>
                    <a:ext uri="{9D8B030D-6E8A-4147-A177-3AD203B41FA5}">
                      <a16:colId xmlns:a16="http://schemas.microsoft.com/office/drawing/2014/main" val="54782936"/>
                    </a:ext>
                  </a:extLst>
                </a:gridCol>
                <a:gridCol w="295492">
                  <a:extLst>
                    <a:ext uri="{9D8B030D-6E8A-4147-A177-3AD203B41FA5}">
                      <a16:colId xmlns:a16="http://schemas.microsoft.com/office/drawing/2014/main" val="154020430"/>
                    </a:ext>
                  </a:extLst>
                </a:gridCol>
                <a:gridCol w="295492">
                  <a:extLst>
                    <a:ext uri="{9D8B030D-6E8A-4147-A177-3AD203B41FA5}">
                      <a16:colId xmlns:a16="http://schemas.microsoft.com/office/drawing/2014/main" val="3928813835"/>
                    </a:ext>
                  </a:extLst>
                </a:gridCol>
                <a:gridCol w="295492">
                  <a:extLst>
                    <a:ext uri="{9D8B030D-6E8A-4147-A177-3AD203B41FA5}">
                      <a16:colId xmlns:a16="http://schemas.microsoft.com/office/drawing/2014/main" val="4210253042"/>
                    </a:ext>
                  </a:extLst>
                </a:gridCol>
                <a:gridCol w="295492">
                  <a:extLst>
                    <a:ext uri="{9D8B030D-6E8A-4147-A177-3AD203B41FA5}">
                      <a16:colId xmlns:a16="http://schemas.microsoft.com/office/drawing/2014/main" val="895787419"/>
                    </a:ext>
                  </a:extLst>
                </a:gridCol>
                <a:gridCol w="295492">
                  <a:extLst>
                    <a:ext uri="{9D8B030D-6E8A-4147-A177-3AD203B41FA5}">
                      <a16:colId xmlns:a16="http://schemas.microsoft.com/office/drawing/2014/main" val="3828388578"/>
                    </a:ext>
                  </a:extLst>
                </a:gridCol>
                <a:gridCol w="295492">
                  <a:extLst>
                    <a:ext uri="{9D8B030D-6E8A-4147-A177-3AD203B41FA5}">
                      <a16:colId xmlns:a16="http://schemas.microsoft.com/office/drawing/2014/main" val="742550205"/>
                    </a:ext>
                  </a:extLst>
                </a:gridCol>
                <a:gridCol w="295492">
                  <a:extLst>
                    <a:ext uri="{9D8B030D-6E8A-4147-A177-3AD203B41FA5}">
                      <a16:colId xmlns:a16="http://schemas.microsoft.com/office/drawing/2014/main" val="1408879461"/>
                    </a:ext>
                  </a:extLst>
                </a:gridCol>
              </a:tblGrid>
              <a:tr h="251292">
                <a:tc>
                  <a:txBody>
                    <a:bodyPr/>
                    <a:lstStyle/>
                    <a:p>
                      <a:r>
                        <a:rPr lang="en-US" sz="800" b="1" i="0" dirty="0">
                          <a:solidFill>
                            <a:schemeClr val="bg1"/>
                          </a:solidFill>
                          <a:latin typeface="+mj-lt"/>
                        </a:rPr>
                        <a:t>Sales </a:t>
                      </a:r>
                      <a:r>
                        <a:rPr lang="en-US" sz="800" b="1" i="0">
                          <a:solidFill>
                            <a:schemeClr val="bg1"/>
                          </a:solidFill>
                          <a:latin typeface="+mj-lt"/>
                        </a:rPr>
                        <a:t>Vs. 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rPr dirty="0"/>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rPr dirty="0"/>
                        <a:t>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helf </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Price</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Unit</a:t>
            </a:r>
          </a:p>
          <a:p>
            <a:pPr marL="0" marR="0" lvl="0" indent="0" defTabSz="685749"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Nexa Bold" panose="00000800000000000000" pitchFamily="2" charset="0"/>
              </a:rPr>
              <a:t>(</a:t>
            </a:r>
            <a:r>
              <a:rPr lang="en-US" sz="800" dirty="0">
                <a:solidFill>
                  <a:schemeClr val="tx1"/>
                </a:solidFill>
                <a:highlight>
                  <a:srgbClr val="FFFF00"/>
                </a:highlight>
                <a:latin typeface="Nexa Bold" panose="00000800000000000000" pitchFamily="2" charset="0"/>
              </a:rPr>
              <a:t>€</a:t>
            </a:r>
            <a:r>
              <a:rPr lang="en-US" sz="800" dirty="0">
                <a:solidFill>
                  <a:schemeClr val="tx1"/>
                </a:solidFill>
                <a:latin typeface="Nexa Bold" panose="00000800000000000000" pitchFamily="2" charset="0"/>
              </a:rPr>
              <a:t>)</a:t>
            </a:r>
            <a:endPar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endParaRP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Value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ales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M)</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8/11/2025</a:t>
            </a:fld>
            <a:endParaRPr lang="en-US" sz="500"/>
          </a:p>
        </p:txBody>
      </p:sp>
    </p:spTree>
    <p:extLst>
      <p:ext uri="{BB962C8B-B14F-4D97-AF65-F5344CB8AC3E}">
        <p14:creationId xmlns:p14="http://schemas.microsoft.com/office/powerpoint/2010/main" val="321840577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r>
              <a:rPr lang="en-US" dirty="0"/>
              <a:t>Inter-size Discount  | </a:t>
            </a:r>
            <a:r>
              <a:rPr lang="en-US" dirty="0">
                <a:highlight>
                  <a:srgbClr val="FFFF00"/>
                </a:highlight>
              </a:rPr>
              <a:t>Variant</a:t>
            </a:r>
            <a:r>
              <a:rPr lang="en-US" dirty="0"/>
              <a:t> | </a:t>
            </a:r>
            <a:r>
              <a:rPr lang="en-US" dirty="0">
                <a:highlight>
                  <a:srgbClr val="FFFF00"/>
                </a:highlight>
              </a:rPr>
              <a:t>National</a:t>
            </a:r>
            <a:r>
              <a:rPr lang="en-US" dirty="0"/>
              <a:t> | P12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2800073758"/>
              </p:ext>
            </p:extLst>
          </p:nvPr>
        </p:nvGraphicFramePr>
        <p:xfrm>
          <a:off x="555229" y="4265104"/>
          <a:ext cx="7441138"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95492">
                  <a:extLst>
                    <a:ext uri="{9D8B030D-6E8A-4147-A177-3AD203B41FA5}">
                      <a16:colId xmlns:a16="http://schemas.microsoft.com/office/drawing/2014/main" val="2253286919"/>
                    </a:ext>
                  </a:extLst>
                </a:gridCol>
                <a:gridCol w="295492">
                  <a:extLst>
                    <a:ext uri="{9D8B030D-6E8A-4147-A177-3AD203B41FA5}">
                      <a16:colId xmlns:a16="http://schemas.microsoft.com/office/drawing/2014/main" val="2739285047"/>
                    </a:ext>
                  </a:extLst>
                </a:gridCol>
                <a:gridCol w="295492">
                  <a:extLst>
                    <a:ext uri="{9D8B030D-6E8A-4147-A177-3AD203B41FA5}">
                      <a16:colId xmlns:a16="http://schemas.microsoft.com/office/drawing/2014/main" val="686050863"/>
                    </a:ext>
                  </a:extLst>
                </a:gridCol>
                <a:gridCol w="295492">
                  <a:extLst>
                    <a:ext uri="{9D8B030D-6E8A-4147-A177-3AD203B41FA5}">
                      <a16:colId xmlns:a16="http://schemas.microsoft.com/office/drawing/2014/main" val="3765127706"/>
                    </a:ext>
                  </a:extLst>
                </a:gridCol>
                <a:gridCol w="295492">
                  <a:extLst>
                    <a:ext uri="{9D8B030D-6E8A-4147-A177-3AD203B41FA5}">
                      <a16:colId xmlns:a16="http://schemas.microsoft.com/office/drawing/2014/main" val="273303937"/>
                    </a:ext>
                  </a:extLst>
                </a:gridCol>
                <a:gridCol w="295492">
                  <a:extLst>
                    <a:ext uri="{9D8B030D-6E8A-4147-A177-3AD203B41FA5}">
                      <a16:colId xmlns:a16="http://schemas.microsoft.com/office/drawing/2014/main" val="1190134658"/>
                    </a:ext>
                  </a:extLst>
                </a:gridCol>
                <a:gridCol w="295492">
                  <a:extLst>
                    <a:ext uri="{9D8B030D-6E8A-4147-A177-3AD203B41FA5}">
                      <a16:colId xmlns:a16="http://schemas.microsoft.com/office/drawing/2014/main" val="1152288185"/>
                    </a:ext>
                  </a:extLst>
                </a:gridCol>
                <a:gridCol w="295492">
                  <a:extLst>
                    <a:ext uri="{9D8B030D-6E8A-4147-A177-3AD203B41FA5}">
                      <a16:colId xmlns:a16="http://schemas.microsoft.com/office/drawing/2014/main" val="1888319813"/>
                    </a:ext>
                  </a:extLst>
                </a:gridCol>
                <a:gridCol w="295492">
                  <a:extLst>
                    <a:ext uri="{9D8B030D-6E8A-4147-A177-3AD203B41FA5}">
                      <a16:colId xmlns:a16="http://schemas.microsoft.com/office/drawing/2014/main" val="3471064540"/>
                    </a:ext>
                  </a:extLst>
                </a:gridCol>
                <a:gridCol w="295492">
                  <a:extLst>
                    <a:ext uri="{9D8B030D-6E8A-4147-A177-3AD203B41FA5}">
                      <a16:colId xmlns:a16="http://schemas.microsoft.com/office/drawing/2014/main" val="670551899"/>
                    </a:ext>
                  </a:extLst>
                </a:gridCol>
                <a:gridCol w="295492">
                  <a:extLst>
                    <a:ext uri="{9D8B030D-6E8A-4147-A177-3AD203B41FA5}">
                      <a16:colId xmlns:a16="http://schemas.microsoft.com/office/drawing/2014/main" val="1100152168"/>
                    </a:ext>
                  </a:extLst>
                </a:gridCol>
                <a:gridCol w="295492">
                  <a:extLst>
                    <a:ext uri="{9D8B030D-6E8A-4147-A177-3AD203B41FA5}">
                      <a16:colId xmlns:a16="http://schemas.microsoft.com/office/drawing/2014/main" val="2165801595"/>
                    </a:ext>
                  </a:extLst>
                </a:gridCol>
                <a:gridCol w="295492">
                  <a:extLst>
                    <a:ext uri="{9D8B030D-6E8A-4147-A177-3AD203B41FA5}">
                      <a16:colId xmlns:a16="http://schemas.microsoft.com/office/drawing/2014/main" val="3981167565"/>
                    </a:ext>
                  </a:extLst>
                </a:gridCol>
                <a:gridCol w="295492">
                  <a:extLst>
                    <a:ext uri="{9D8B030D-6E8A-4147-A177-3AD203B41FA5}">
                      <a16:colId xmlns:a16="http://schemas.microsoft.com/office/drawing/2014/main" val="2740792325"/>
                    </a:ext>
                  </a:extLst>
                </a:gridCol>
                <a:gridCol w="295492">
                  <a:extLst>
                    <a:ext uri="{9D8B030D-6E8A-4147-A177-3AD203B41FA5}">
                      <a16:colId xmlns:a16="http://schemas.microsoft.com/office/drawing/2014/main" val="54782936"/>
                    </a:ext>
                  </a:extLst>
                </a:gridCol>
                <a:gridCol w="295492">
                  <a:extLst>
                    <a:ext uri="{9D8B030D-6E8A-4147-A177-3AD203B41FA5}">
                      <a16:colId xmlns:a16="http://schemas.microsoft.com/office/drawing/2014/main" val="154020430"/>
                    </a:ext>
                  </a:extLst>
                </a:gridCol>
                <a:gridCol w="295492">
                  <a:extLst>
                    <a:ext uri="{9D8B030D-6E8A-4147-A177-3AD203B41FA5}">
                      <a16:colId xmlns:a16="http://schemas.microsoft.com/office/drawing/2014/main" val="3928813835"/>
                    </a:ext>
                  </a:extLst>
                </a:gridCol>
                <a:gridCol w="295492">
                  <a:extLst>
                    <a:ext uri="{9D8B030D-6E8A-4147-A177-3AD203B41FA5}">
                      <a16:colId xmlns:a16="http://schemas.microsoft.com/office/drawing/2014/main" val="4210253042"/>
                    </a:ext>
                  </a:extLst>
                </a:gridCol>
                <a:gridCol w="295492">
                  <a:extLst>
                    <a:ext uri="{9D8B030D-6E8A-4147-A177-3AD203B41FA5}">
                      <a16:colId xmlns:a16="http://schemas.microsoft.com/office/drawing/2014/main" val="895787419"/>
                    </a:ext>
                  </a:extLst>
                </a:gridCol>
                <a:gridCol w="295492">
                  <a:extLst>
                    <a:ext uri="{9D8B030D-6E8A-4147-A177-3AD203B41FA5}">
                      <a16:colId xmlns:a16="http://schemas.microsoft.com/office/drawing/2014/main" val="3828388578"/>
                    </a:ext>
                  </a:extLst>
                </a:gridCol>
                <a:gridCol w="295492">
                  <a:extLst>
                    <a:ext uri="{9D8B030D-6E8A-4147-A177-3AD203B41FA5}">
                      <a16:colId xmlns:a16="http://schemas.microsoft.com/office/drawing/2014/main" val="742550205"/>
                    </a:ext>
                  </a:extLst>
                </a:gridCol>
                <a:gridCol w="295492">
                  <a:extLst>
                    <a:ext uri="{9D8B030D-6E8A-4147-A177-3AD203B41FA5}">
                      <a16:colId xmlns:a16="http://schemas.microsoft.com/office/drawing/2014/main" val="1408879461"/>
                    </a:ext>
                  </a:extLst>
                </a:gridCol>
              </a:tblGrid>
              <a:tr h="251292">
                <a:tc>
                  <a:txBody>
                    <a:bodyPr/>
                    <a:lstStyle/>
                    <a:p>
                      <a:r>
                        <a:rPr lang="en-US" sz="800" b="1" i="0" dirty="0">
                          <a:solidFill>
                            <a:schemeClr val="bg1"/>
                          </a:solidFill>
                          <a:latin typeface="+mj-lt"/>
                        </a:rPr>
                        <a:t>Sales </a:t>
                      </a:r>
                      <a:r>
                        <a:rPr lang="en-US" sz="800" b="1" i="0">
                          <a:solidFill>
                            <a:schemeClr val="bg1"/>
                          </a:solidFill>
                          <a:latin typeface="+mj-lt"/>
                        </a:rPr>
                        <a:t>Vs. 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rPr dirty="0"/>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rPr dirty="0"/>
                        <a:t>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helf </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Price</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Unit</a:t>
            </a:r>
          </a:p>
          <a:p>
            <a:pPr marL="0" marR="0" lvl="0" indent="0" defTabSz="685749"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Nexa Bold" panose="00000800000000000000" pitchFamily="2" charset="0"/>
              </a:rPr>
              <a:t>(</a:t>
            </a:r>
            <a:r>
              <a:rPr lang="en-US" sz="800" dirty="0">
                <a:solidFill>
                  <a:schemeClr val="tx1"/>
                </a:solidFill>
                <a:highlight>
                  <a:srgbClr val="FFFF00"/>
                </a:highlight>
                <a:latin typeface="Nexa Bold" panose="00000800000000000000" pitchFamily="2" charset="0"/>
              </a:rPr>
              <a:t>€</a:t>
            </a:r>
            <a:r>
              <a:rPr lang="en-US" sz="800" dirty="0">
                <a:solidFill>
                  <a:schemeClr val="tx1"/>
                </a:solidFill>
                <a:latin typeface="Nexa Bold" panose="00000800000000000000" pitchFamily="2" charset="0"/>
              </a:rPr>
              <a:t>)</a:t>
            </a:r>
            <a:endPar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endParaRP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Value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ales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M)</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8/11/2025</a:t>
            </a:fld>
            <a:endParaRPr lang="en-US" sz="500"/>
          </a:p>
        </p:txBody>
      </p:sp>
    </p:spTree>
    <p:extLst>
      <p:ext uri="{BB962C8B-B14F-4D97-AF65-F5344CB8AC3E}">
        <p14:creationId xmlns:p14="http://schemas.microsoft.com/office/powerpoint/2010/main" val="130643697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r>
              <a:rPr lang="en-US" dirty="0"/>
              <a:t>Inter-size Discount  | </a:t>
            </a:r>
            <a:r>
              <a:rPr lang="en-US" dirty="0">
                <a:highlight>
                  <a:srgbClr val="FFFF00"/>
                </a:highlight>
              </a:rPr>
              <a:t>Variant</a:t>
            </a:r>
            <a:r>
              <a:rPr lang="en-US" dirty="0"/>
              <a:t> | </a:t>
            </a:r>
            <a:r>
              <a:rPr lang="en-US" dirty="0">
                <a:highlight>
                  <a:srgbClr val="FFFF00"/>
                </a:highlight>
              </a:rPr>
              <a:t>National</a:t>
            </a:r>
            <a:r>
              <a:rPr lang="en-US" dirty="0"/>
              <a:t> | P12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2800073758"/>
              </p:ext>
            </p:extLst>
          </p:nvPr>
        </p:nvGraphicFramePr>
        <p:xfrm>
          <a:off x="555229" y="4265104"/>
          <a:ext cx="7441138"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95492">
                  <a:extLst>
                    <a:ext uri="{9D8B030D-6E8A-4147-A177-3AD203B41FA5}">
                      <a16:colId xmlns:a16="http://schemas.microsoft.com/office/drawing/2014/main" val="2253286919"/>
                    </a:ext>
                  </a:extLst>
                </a:gridCol>
                <a:gridCol w="295492">
                  <a:extLst>
                    <a:ext uri="{9D8B030D-6E8A-4147-A177-3AD203B41FA5}">
                      <a16:colId xmlns:a16="http://schemas.microsoft.com/office/drawing/2014/main" val="2739285047"/>
                    </a:ext>
                  </a:extLst>
                </a:gridCol>
                <a:gridCol w="295492">
                  <a:extLst>
                    <a:ext uri="{9D8B030D-6E8A-4147-A177-3AD203B41FA5}">
                      <a16:colId xmlns:a16="http://schemas.microsoft.com/office/drawing/2014/main" val="686050863"/>
                    </a:ext>
                  </a:extLst>
                </a:gridCol>
                <a:gridCol w="295492">
                  <a:extLst>
                    <a:ext uri="{9D8B030D-6E8A-4147-A177-3AD203B41FA5}">
                      <a16:colId xmlns:a16="http://schemas.microsoft.com/office/drawing/2014/main" val="3765127706"/>
                    </a:ext>
                  </a:extLst>
                </a:gridCol>
                <a:gridCol w="295492">
                  <a:extLst>
                    <a:ext uri="{9D8B030D-6E8A-4147-A177-3AD203B41FA5}">
                      <a16:colId xmlns:a16="http://schemas.microsoft.com/office/drawing/2014/main" val="273303937"/>
                    </a:ext>
                  </a:extLst>
                </a:gridCol>
                <a:gridCol w="295492">
                  <a:extLst>
                    <a:ext uri="{9D8B030D-6E8A-4147-A177-3AD203B41FA5}">
                      <a16:colId xmlns:a16="http://schemas.microsoft.com/office/drawing/2014/main" val="1190134658"/>
                    </a:ext>
                  </a:extLst>
                </a:gridCol>
                <a:gridCol w="295492">
                  <a:extLst>
                    <a:ext uri="{9D8B030D-6E8A-4147-A177-3AD203B41FA5}">
                      <a16:colId xmlns:a16="http://schemas.microsoft.com/office/drawing/2014/main" val="1152288185"/>
                    </a:ext>
                  </a:extLst>
                </a:gridCol>
                <a:gridCol w="295492">
                  <a:extLst>
                    <a:ext uri="{9D8B030D-6E8A-4147-A177-3AD203B41FA5}">
                      <a16:colId xmlns:a16="http://schemas.microsoft.com/office/drawing/2014/main" val="1888319813"/>
                    </a:ext>
                  </a:extLst>
                </a:gridCol>
                <a:gridCol w="295492">
                  <a:extLst>
                    <a:ext uri="{9D8B030D-6E8A-4147-A177-3AD203B41FA5}">
                      <a16:colId xmlns:a16="http://schemas.microsoft.com/office/drawing/2014/main" val="3471064540"/>
                    </a:ext>
                  </a:extLst>
                </a:gridCol>
                <a:gridCol w="295492">
                  <a:extLst>
                    <a:ext uri="{9D8B030D-6E8A-4147-A177-3AD203B41FA5}">
                      <a16:colId xmlns:a16="http://schemas.microsoft.com/office/drawing/2014/main" val="670551899"/>
                    </a:ext>
                  </a:extLst>
                </a:gridCol>
                <a:gridCol w="295492">
                  <a:extLst>
                    <a:ext uri="{9D8B030D-6E8A-4147-A177-3AD203B41FA5}">
                      <a16:colId xmlns:a16="http://schemas.microsoft.com/office/drawing/2014/main" val="1100152168"/>
                    </a:ext>
                  </a:extLst>
                </a:gridCol>
                <a:gridCol w="295492">
                  <a:extLst>
                    <a:ext uri="{9D8B030D-6E8A-4147-A177-3AD203B41FA5}">
                      <a16:colId xmlns:a16="http://schemas.microsoft.com/office/drawing/2014/main" val="2165801595"/>
                    </a:ext>
                  </a:extLst>
                </a:gridCol>
                <a:gridCol w="295492">
                  <a:extLst>
                    <a:ext uri="{9D8B030D-6E8A-4147-A177-3AD203B41FA5}">
                      <a16:colId xmlns:a16="http://schemas.microsoft.com/office/drawing/2014/main" val="3981167565"/>
                    </a:ext>
                  </a:extLst>
                </a:gridCol>
                <a:gridCol w="295492">
                  <a:extLst>
                    <a:ext uri="{9D8B030D-6E8A-4147-A177-3AD203B41FA5}">
                      <a16:colId xmlns:a16="http://schemas.microsoft.com/office/drawing/2014/main" val="2740792325"/>
                    </a:ext>
                  </a:extLst>
                </a:gridCol>
                <a:gridCol w="295492">
                  <a:extLst>
                    <a:ext uri="{9D8B030D-6E8A-4147-A177-3AD203B41FA5}">
                      <a16:colId xmlns:a16="http://schemas.microsoft.com/office/drawing/2014/main" val="54782936"/>
                    </a:ext>
                  </a:extLst>
                </a:gridCol>
                <a:gridCol w="295492">
                  <a:extLst>
                    <a:ext uri="{9D8B030D-6E8A-4147-A177-3AD203B41FA5}">
                      <a16:colId xmlns:a16="http://schemas.microsoft.com/office/drawing/2014/main" val="154020430"/>
                    </a:ext>
                  </a:extLst>
                </a:gridCol>
                <a:gridCol w="295492">
                  <a:extLst>
                    <a:ext uri="{9D8B030D-6E8A-4147-A177-3AD203B41FA5}">
                      <a16:colId xmlns:a16="http://schemas.microsoft.com/office/drawing/2014/main" val="3928813835"/>
                    </a:ext>
                  </a:extLst>
                </a:gridCol>
                <a:gridCol w="295492">
                  <a:extLst>
                    <a:ext uri="{9D8B030D-6E8A-4147-A177-3AD203B41FA5}">
                      <a16:colId xmlns:a16="http://schemas.microsoft.com/office/drawing/2014/main" val="4210253042"/>
                    </a:ext>
                  </a:extLst>
                </a:gridCol>
                <a:gridCol w="295492">
                  <a:extLst>
                    <a:ext uri="{9D8B030D-6E8A-4147-A177-3AD203B41FA5}">
                      <a16:colId xmlns:a16="http://schemas.microsoft.com/office/drawing/2014/main" val="895787419"/>
                    </a:ext>
                  </a:extLst>
                </a:gridCol>
                <a:gridCol w="295492">
                  <a:extLst>
                    <a:ext uri="{9D8B030D-6E8A-4147-A177-3AD203B41FA5}">
                      <a16:colId xmlns:a16="http://schemas.microsoft.com/office/drawing/2014/main" val="3828388578"/>
                    </a:ext>
                  </a:extLst>
                </a:gridCol>
                <a:gridCol w="295492">
                  <a:extLst>
                    <a:ext uri="{9D8B030D-6E8A-4147-A177-3AD203B41FA5}">
                      <a16:colId xmlns:a16="http://schemas.microsoft.com/office/drawing/2014/main" val="742550205"/>
                    </a:ext>
                  </a:extLst>
                </a:gridCol>
                <a:gridCol w="295492">
                  <a:extLst>
                    <a:ext uri="{9D8B030D-6E8A-4147-A177-3AD203B41FA5}">
                      <a16:colId xmlns:a16="http://schemas.microsoft.com/office/drawing/2014/main" val="1408879461"/>
                    </a:ext>
                  </a:extLst>
                </a:gridCol>
              </a:tblGrid>
              <a:tr h="251292">
                <a:tc>
                  <a:txBody>
                    <a:bodyPr/>
                    <a:lstStyle/>
                    <a:p>
                      <a:r>
                        <a:rPr lang="en-US" sz="800" b="1" i="0" dirty="0">
                          <a:solidFill>
                            <a:schemeClr val="bg1"/>
                          </a:solidFill>
                          <a:latin typeface="+mj-lt"/>
                        </a:rPr>
                        <a:t>Sales </a:t>
                      </a:r>
                      <a:r>
                        <a:rPr lang="en-US" sz="800" b="1" i="0">
                          <a:solidFill>
                            <a:schemeClr val="bg1"/>
                          </a:solidFill>
                          <a:latin typeface="+mj-lt"/>
                        </a:rPr>
                        <a:t>Vs. 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rPr dirty="0"/>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rPr dirty="0"/>
                        <a:t>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helf </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Price</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Unit</a:t>
            </a:r>
          </a:p>
          <a:p>
            <a:pPr marL="0" marR="0" lvl="0" indent="0" defTabSz="685749"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Nexa Bold" panose="00000800000000000000" pitchFamily="2" charset="0"/>
              </a:rPr>
              <a:t>(</a:t>
            </a:r>
            <a:r>
              <a:rPr lang="en-US" sz="800" dirty="0">
                <a:solidFill>
                  <a:schemeClr val="tx1"/>
                </a:solidFill>
                <a:highlight>
                  <a:srgbClr val="FFFF00"/>
                </a:highlight>
                <a:latin typeface="Nexa Bold" panose="00000800000000000000" pitchFamily="2" charset="0"/>
              </a:rPr>
              <a:t>€</a:t>
            </a:r>
            <a:r>
              <a:rPr lang="en-US" sz="800" dirty="0">
                <a:solidFill>
                  <a:schemeClr val="tx1"/>
                </a:solidFill>
                <a:latin typeface="Nexa Bold" panose="00000800000000000000" pitchFamily="2" charset="0"/>
              </a:rPr>
              <a:t>)</a:t>
            </a:r>
            <a:endPar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endParaRP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Value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ales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M)</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8/11/2025</a:t>
            </a:fld>
            <a:endParaRPr lang="en-US" sz="500"/>
          </a:p>
        </p:txBody>
      </p:sp>
    </p:spTree>
    <p:extLst>
      <p:ext uri="{BB962C8B-B14F-4D97-AF65-F5344CB8AC3E}">
        <p14:creationId xmlns:p14="http://schemas.microsoft.com/office/powerpoint/2010/main" val="333680484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r>
              <a:rPr lang="en-US" dirty="0"/>
              <a:t>Inter-size Discount  | </a:t>
            </a:r>
            <a:r>
              <a:rPr lang="en-US" dirty="0">
                <a:highlight>
                  <a:srgbClr val="FFFF00"/>
                </a:highlight>
              </a:rPr>
              <a:t>Variant</a:t>
            </a:r>
            <a:r>
              <a:rPr lang="en-US" dirty="0"/>
              <a:t> | </a:t>
            </a:r>
            <a:r>
              <a:rPr lang="en-US" dirty="0">
                <a:highlight>
                  <a:srgbClr val="FFFF00"/>
                </a:highlight>
              </a:rPr>
              <a:t>National</a:t>
            </a:r>
            <a:r>
              <a:rPr lang="en-US" dirty="0"/>
              <a:t> | P12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2800073758"/>
              </p:ext>
            </p:extLst>
          </p:nvPr>
        </p:nvGraphicFramePr>
        <p:xfrm>
          <a:off x="555229" y="4265104"/>
          <a:ext cx="7441138"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95492">
                  <a:extLst>
                    <a:ext uri="{9D8B030D-6E8A-4147-A177-3AD203B41FA5}">
                      <a16:colId xmlns:a16="http://schemas.microsoft.com/office/drawing/2014/main" val="2253286919"/>
                    </a:ext>
                  </a:extLst>
                </a:gridCol>
                <a:gridCol w="295492">
                  <a:extLst>
                    <a:ext uri="{9D8B030D-6E8A-4147-A177-3AD203B41FA5}">
                      <a16:colId xmlns:a16="http://schemas.microsoft.com/office/drawing/2014/main" val="2739285047"/>
                    </a:ext>
                  </a:extLst>
                </a:gridCol>
                <a:gridCol w="295492">
                  <a:extLst>
                    <a:ext uri="{9D8B030D-6E8A-4147-A177-3AD203B41FA5}">
                      <a16:colId xmlns:a16="http://schemas.microsoft.com/office/drawing/2014/main" val="686050863"/>
                    </a:ext>
                  </a:extLst>
                </a:gridCol>
                <a:gridCol w="295492">
                  <a:extLst>
                    <a:ext uri="{9D8B030D-6E8A-4147-A177-3AD203B41FA5}">
                      <a16:colId xmlns:a16="http://schemas.microsoft.com/office/drawing/2014/main" val="3765127706"/>
                    </a:ext>
                  </a:extLst>
                </a:gridCol>
                <a:gridCol w="295492">
                  <a:extLst>
                    <a:ext uri="{9D8B030D-6E8A-4147-A177-3AD203B41FA5}">
                      <a16:colId xmlns:a16="http://schemas.microsoft.com/office/drawing/2014/main" val="273303937"/>
                    </a:ext>
                  </a:extLst>
                </a:gridCol>
                <a:gridCol w="295492">
                  <a:extLst>
                    <a:ext uri="{9D8B030D-6E8A-4147-A177-3AD203B41FA5}">
                      <a16:colId xmlns:a16="http://schemas.microsoft.com/office/drawing/2014/main" val="1190134658"/>
                    </a:ext>
                  </a:extLst>
                </a:gridCol>
                <a:gridCol w="295492">
                  <a:extLst>
                    <a:ext uri="{9D8B030D-6E8A-4147-A177-3AD203B41FA5}">
                      <a16:colId xmlns:a16="http://schemas.microsoft.com/office/drawing/2014/main" val="1152288185"/>
                    </a:ext>
                  </a:extLst>
                </a:gridCol>
                <a:gridCol w="295492">
                  <a:extLst>
                    <a:ext uri="{9D8B030D-6E8A-4147-A177-3AD203B41FA5}">
                      <a16:colId xmlns:a16="http://schemas.microsoft.com/office/drawing/2014/main" val="1888319813"/>
                    </a:ext>
                  </a:extLst>
                </a:gridCol>
                <a:gridCol w="295492">
                  <a:extLst>
                    <a:ext uri="{9D8B030D-6E8A-4147-A177-3AD203B41FA5}">
                      <a16:colId xmlns:a16="http://schemas.microsoft.com/office/drawing/2014/main" val="3471064540"/>
                    </a:ext>
                  </a:extLst>
                </a:gridCol>
                <a:gridCol w="295492">
                  <a:extLst>
                    <a:ext uri="{9D8B030D-6E8A-4147-A177-3AD203B41FA5}">
                      <a16:colId xmlns:a16="http://schemas.microsoft.com/office/drawing/2014/main" val="670551899"/>
                    </a:ext>
                  </a:extLst>
                </a:gridCol>
                <a:gridCol w="295492">
                  <a:extLst>
                    <a:ext uri="{9D8B030D-6E8A-4147-A177-3AD203B41FA5}">
                      <a16:colId xmlns:a16="http://schemas.microsoft.com/office/drawing/2014/main" val="1100152168"/>
                    </a:ext>
                  </a:extLst>
                </a:gridCol>
                <a:gridCol w="295492">
                  <a:extLst>
                    <a:ext uri="{9D8B030D-6E8A-4147-A177-3AD203B41FA5}">
                      <a16:colId xmlns:a16="http://schemas.microsoft.com/office/drawing/2014/main" val="2165801595"/>
                    </a:ext>
                  </a:extLst>
                </a:gridCol>
                <a:gridCol w="295492">
                  <a:extLst>
                    <a:ext uri="{9D8B030D-6E8A-4147-A177-3AD203B41FA5}">
                      <a16:colId xmlns:a16="http://schemas.microsoft.com/office/drawing/2014/main" val="3981167565"/>
                    </a:ext>
                  </a:extLst>
                </a:gridCol>
                <a:gridCol w="295492">
                  <a:extLst>
                    <a:ext uri="{9D8B030D-6E8A-4147-A177-3AD203B41FA5}">
                      <a16:colId xmlns:a16="http://schemas.microsoft.com/office/drawing/2014/main" val="2740792325"/>
                    </a:ext>
                  </a:extLst>
                </a:gridCol>
                <a:gridCol w="295492">
                  <a:extLst>
                    <a:ext uri="{9D8B030D-6E8A-4147-A177-3AD203B41FA5}">
                      <a16:colId xmlns:a16="http://schemas.microsoft.com/office/drawing/2014/main" val="54782936"/>
                    </a:ext>
                  </a:extLst>
                </a:gridCol>
                <a:gridCol w="295492">
                  <a:extLst>
                    <a:ext uri="{9D8B030D-6E8A-4147-A177-3AD203B41FA5}">
                      <a16:colId xmlns:a16="http://schemas.microsoft.com/office/drawing/2014/main" val="154020430"/>
                    </a:ext>
                  </a:extLst>
                </a:gridCol>
                <a:gridCol w="295492">
                  <a:extLst>
                    <a:ext uri="{9D8B030D-6E8A-4147-A177-3AD203B41FA5}">
                      <a16:colId xmlns:a16="http://schemas.microsoft.com/office/drawing/2014/main" val="3928813835"/>
                    </a:ext>
                  </a:extLst>
                </a:gridCol>
                <a:gridCol w="295492">
                  <a:extLst>
                    <a:ext uri="{9D8B030D-6E8A-4147-A177-3AD203B41FA5}">
                      <a16:colId xmlns:a16="http://schemas.microsoft.com/office/drawing/2014/main" val="4210253042"/>
                    </a:ext>
                  </a:extLst>
                </a:gridCol>
                <a:gridCol w="295492">
                  <a:extLst>
                    <a:ext uri="{9D8B030D-6E8A-4147-A177-3AD203B41FA5}">
                      <a16:colId xmlns:a16="http://schemas.microsoft.com/office/drawing/2014/main" val="895787419"/>
                    </a:ext>
                  </a:extLst>
                </a:gridCol>
                <a:gridCol w="295492">
                  <a:extLst>
                    <a:ext uri="{9D8B030D-6E8A-4147-A177-3AD203B41FA5}">
                      <a16:colId xmlns:a16="http://schemas.microsoft.com/office/drawing/2014/main" val="3828388578"/>
                    </a:ext>
                  </a:extLst>
                </a:gridCol>
                <a:gridCol w="295492">
                  <a:extLst>
                    <a:ext uri="{9D8B030D-6E8A-4147-A177-3AD203B41FA5}">
                      <a16:colId xmlns:a16="http://schemas.microsoft.com/office/drawing/2014/main" val="742550205"/>
                    </a:ext>
                  </a:extLst>
                </a:gridCol>
                <a:gridCol w="295492">
                  <a:extLst>
                    <a:ext uri="{9D8B030D-6E8A-4147-A177-3AD203B41FA5}">
                      <a16:colId xmlns:a16="http://schemas.microsoft.com/office/drawing/2014/main" val="1408879461"/>
                    </a:ext>
                  </a:extLst>
                </a:gridCol>
              </a:tblGrid>
              <a:tr h="251292">
                <a:tc>
                  <a:txBody>
                    <a:bodyPr/>
                    <a:lstStyle/>
                    <a:p>
                      <a:r>
                        <a:rPr lang="en-US" sz="800" b="1" i="0" dirty="0">
                          <a:solidFill>
                            <a:schemeClr val="bg1"/>
                          </a:solidFill>
                          <a:latin typeface="+mj-lt"/>
                        </a:rPr>
                        <a:t>Sales </a:t>
                      </a:r>
                      <a:r>
                        <a:rPr lang="en-US" sz="800" b="1" i="0">
                          <a:solidFill>
                            <a:schemeClr val="bg1"/>
                          </a:solidFill>
                          <a:latin typeface="+mj-lt"/>
                        </a:rPr>
                        <a:t>Vs. 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rPr dirty="0"/>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rPr dirty="0"/>
                        <a:t>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helf </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Price</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Unit</a:t>
            </a:r>
          </a:p>
          <a:p>
            <a:pPr marL="0" marR="0" lvl="0" indent="0" defTabSz="685749"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Nexa Bold" panose="00000800000000000000" pitchFamily="2" charset="0"/>
              </a:rPr>
              <a:t>(</a:t>
            </a:r>
            <a:r>
              <a:rPr lang="en-US" sz="800" dirty="0">
                <a:solidFill>
                  <a:schemeClr val="tx1"/>
                </a:solidFill>
                <a:highlight>
                  <a:srgbClr val="FFFF00"/>
                </a:highlight>
                <a:latin typeface="Nexa Bold" panose="00000800000000000000" pitchFamily="2" charset="0"/>
              </a:rPr>
              <a:t>€</a:t>
            </a:r>
            <a:r>
              <a:rPr lang="en-US" sz="800" dirty="0">
                <a:solidFill>
                  <a:schemeClr val="tx1"/>
                </a:solidFill>
                <a:latin typeface="Nexa Bold" panose="00000800000000000000" pitchFamily="2" charset="0"/>
              </a:rPr>
              <a:t>)</a:t>
            </a:r>
            <a:endPar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endParaRP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Value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ales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M)</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8/11/2025</a:t>
            </a:fld>
            <a:endParaRPr lang="en-US" sz="500"/>
          </a:p>
        </p:txBody>
      </p:sp>
    </p:spTree>
    <p:extLst>
      <p:ext uri="{BB962C8B-B14F-4D97-AF65-F5344CB8AC3E}">
        <p14:creationId xmlns:p14="http://schemas.microsoft.com/office/powerpoint/2010/main" val="155801115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r>
              <a:rPr lang="en-US" dirty="0"/>
              <a:t>Inter-size Discount  | </a:t>
            </a:r>
            <a:r>
              <a:rPr lang="en-US" dirty="0">
                <a:highlight>
                  <a:srgbClr val="FFFF00"/>
                </a:highlight>
              </a:rPr>
              <a:t>Variant</a:t>
            </a:r>
            <a:r>
              <a:rPr lang="en-US" dirty="0"/>
              <a:t> | </a:t>
            </a:r>
            <a:r>
              <a:rPr lang="en-US" dirty="0">
                <a:highlight>
                  <a:srgbClr val="FFFF00"/>
                </a:highlight>
              </a:rPr>
              <a:t>National</a:t>
            </a:r>
            <a:r>
              <a:rPr lang="en-US" dirty="0"/>
              <a:t> | P12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2800073758"/>
              </p:ext>
            </p:extLst>
          </p:nvPr>
        </p:nvGraphicFramePr>
        <p:xfrm>
          <a:off x="555229" y="4265104"/>
          <a:ext cx="7441138"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95492">
                  <a:extLst>
                    <a:ext uri="{9D8B030D-6E8A-4147-A177-3AD203B41FA5}">
                      <a16:colId xmlns:a16="http://schemas.microsoft.com/office/drawing/2014/main" val="2253286919"/>
                    </a:ext>
                  </a:extLst>
                </a:gridCol>
                <a:gridCol w="295492">
                  <a:extLst>
                    <a:ext uri="{9D8B030D-6E8A-4147-A177-3AD203B41FA5}">
                      <a16:colId xmlns:a16="http://schemas.microsoft.com/office/drawing/2014/main" val="2739285047"/>
                    </a:ext>
                  </a:extLst>
                </a:gridCol>
                <a:gridCol w="295492">
                  <a:extLst>
                    <a:ext uri="{9D8B030D-6E8A-4147-A177-3AD203B41FA5}">
                      <a16:colId xmlns:a16="http://schemas.microsoft.com/office/drawing/2014/main" val="686050863"/>
                    </a:ext>
                  </a:extLst>
                </a:gridCol>
                <a:gridCol w="295492">
                  <a:extLst>
                    <a:ext uri="{9D8B030D-6E8A-4147-A177-3AD203B41FA5}">
                      <a16:colId xmlns:a16="http://schemas.microsoft.com/office/drawing/2014/main" val="3765127706"/>
                    </a:ext>
                  </a:extLst>
                </a:gridCol>
                <a:gridCol w="295492">
                  <a:extLst>
                    <a:ext uri="{9D8B030D-6E8A-4147-A177-3AD203B41FA5}">
                      <a16:colId xmlns:a16="http://schemas.microsoft.com/office/drawing/2014/main" val="273303937"/>
                    </a:ext>
                  </a:extLst>
                </a:gridCol>
                <a:gridCol w="295492">
                  <a:extLst>
                    <a:ext uri="{9D8B030D-6E8A-4147-A177-3AD203B41FA5}">
                      <a16:colId xmlns:a16="http://schemas.microsoft.com/office/drawing/2014/main" val="1190134658"/>
                    </a:ext>
                  </a:extLst>
                </a:gridCol>
                <a:gridCol w="295492">
                  <a:extLst>
                    <a:ext uri="{9D8B030D-6E8A-4147-A177-3AD203B41FA5}">
                      <a16:colId xmlns:a16="http://schemas.microsoft.com/office/drawing/2014/main" val="1152288185"/>
                    </a:ext>
                  </a:extLst>
                </a:gridCol>
                <a:gridCol w="295492">
                  <a:extLst>
                    <a:ext uri="{9D8B030D-6E8A-4147-A177-3AD203B41FA5}">
                      <a16:colId xmlns:a16="http://schemas.microsoft.com/office/drawing/2014/main" val="1888319813"/>
                    </a:ext>
                  </a:extLst>
                </a:gridCol>
                <a:gridCol w="295492">
                  <a:extLst>
                    <a:ext uri="{9D8B030D-6E8A-4147-A177-3AD203B41FA5}">
                      <a16:colId xmlns:a16="http://schemas.microsoft.com/office/drawing/2014/main" val="3471064540"/>
                    </a:ext>
                  </a:extLst>
                </a:gridCol>
                <a:gridCol w="295492">
                  <a:extLst>
                    <a:ext uri="{9D8B030D-6E8A-4147-A177-3AD203B41FA5}">
                      <a16:colId xmlns:a16="http://schemas.microsoft.com/office/drawing/2014/main" val="670551899"/>
                    </a:ext>
                  </a:extLst>
                </a:gridCol>
                <a:gridCol w="295492">
                  <a:extLst>
                    <a:ext uri="{9D8B030D-6E8A-4147-A177-3AD203B41FA5}">
                      <a16:colId xmlns:a16="http://schemas.microsoft.com/office/drawing/2014/main" val="1100152168"/>
                    </a:ext>
                  </a:extLst>
                </a:gridCol>
                <a:gridCol w="295492">
                  <a:extLst>
                    <a:ext uri="{9D8B030D-6E8A-4147-A177-3AD203B41FA5}">
                      <a16:colId xmlns:a16="http://schemas.microsoft.com/office/drawing/2014/main" val="2165801595"/>
                    </a:ext>
                  </a:extLst>
                </a:gridCol>
                <a:gridCol w="295492">
                  <a:extLst>
                    <a:ext uri="{9D8B030D-6E8A-4147-A177-3AD203B41FA5}">
                      <a16:colId xmlns:a16="http://schemas.microsoft.com/office/drawing/2014/main" val="3981167565"/>
                    </a:ext>
                  </a:extLst>
                </a:gridCol>
                <a:gridCol w="295492">
                  <a:extLst>
                    <a:ext uri="{9D8B030D-6E8A-4147-A177-3AD203B41FA5}">
                      <a16:colId xmlns:a16="http://schemas.microsoft.com/office/drawing/2014/main" val="2740792325"/>
                    </a:ext>
                  </a:extLst>
                </a:gridCol>
                <a:gridCol w="295492">
                  <a:extLst>
                    <a:ext uri="{9D8B030D-6E8A-4147-A177-3AD203B41FA5}">
                      <a16:colId xmlns:a16="http://schemas.microsoft.com/office/drawing/2014/main" val="54782936"/>
                    </a:ext>
                  </a:extLst>
                </a:gridCol>
                <a:gridCol w="295492">
                  <a:extLst>
                    <a:ext uri="{9D8B030D-6E8A-4147-A177-3AD203B41FA5}">
                      <a16:colId xmlns:a16="http://schemas.microsoft.com/office/drawing/2014/main" val="154020430"/>
                    </a:ext>
                  </a:extLst>
                </a:gridCol>
                <a:gridCol w="295492">
                  <a:extLst>
                    <a:ext uri="{9D8B030D-6E8A-4147-A177-3AD203B41FA5}">
                      <a16:colId xmlns:a16="http://schemas.microsoft.com/office/drawing/2014/main" val="3928813835"/>
                    </a:ext>
                  </a:extLst>
                </a:gridCol>
                <a:gridCol w="295492">
                  <a:extLst>
                    <a:ext uri="{9D8B030D-6E8A-4147-A177-3AD203B41FA5}">
                      <a16:colId xmlns:a16="http://schemas.microsoft.com/office/drawing/2014/main" val="4210253042"/>
                    </a:ext>
                  </a:extLst>
                </a:gridCol>
                <a:gridCol w="295492">
                  <a:extLst>
                    <a:ext uri="{9D8B030D-6E8A-4147-A177-3AD203B41FA5}">
                      <a16:colId xmlns:a16="http://schemas.microsoft.com/office/drawing/2014/main" val="895787419"/>
                    </a:ext>
                  </a:extLst>
                </a:gridCol>
                <a:gridCol w="295492">
                  <a:extLst>
                    <a:ext uri="{9D8B030D-6E8A-4147-A177-3AD203B41FA5}">
                      <a16:colId xmlns:a16="http://schemas.microsoft.com/office/drawing/2014/main" val="3828388578"/>
                    </a:ext>
                  </a:extLst>
                </a:gridCol>
                <a:gridCol w="295492">
                  <a:extLst>
                    <a:ext uri="{9D8B030D-6E8A-4147-A177-3AD203B41FA5}">
                      <a16:colId xmlns:a16="http://schemas.microsoft.com/office/drawing/2014/main" val="742550205"/>
                    </a:ext>
                  </a:extLst>
                </a:gridCol>
                <a:gridCol w="295492">
                  <a:extLst>
                    <a:ext uri="{9D8B030D-6E8A-4147-A177-3AD203B41FA5}">
                      <a16:colId xmlns:a16="http://schemas.microsoft.com/office/drawing/2014/main" val="1408879461"/>
                    </a:ext>
                  </a:extLst>
                </a:gridCol>
              </a:tblGrid>
              <a:tr h="251292">
                <a:tc>
                  <a:txBody>
                    <a:bodyPr/>
                    <a:lstStyle/>
                    <a:p>
                      <a:r>
                        <a:rPr lang="en-US" sz="800" b="1" i="0" dirty="0">
                          <a:solidFill>
                            <a:schemeClr val="bg1"/>
                          </a:solidFill>
                          <a:latin typeface="+mj-lt"/>
                        </a:rPr>
                        <a:t>Sales </a:t>
                      </a:r>
                      <a:r>
                        <a:rPr lang="en-US" sz="800" b="1" i="0">
                          <a:solidFill>
                            <a:schemeClr val="bg1"/>
                          </a:solidFill>
                          <a:latin typeface="+mj-lt"/>
                        </a:rPr>
                        <a:t>Vs. 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rPr dirty="0"/>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rPr dirty="0"/>
                        <a:t>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helf </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Price</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Unit</a:t>
            </a:r>
          </a:p>
          <a:p>
            <a:pPr marL="0" marR="0" lvl="0" indent="0" defTabSz="685749"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Nexa Bold" panose="00000800000000000000" pitchFamily="2" charset="0"/>
              </a:rPr>
              <a:t>(</a:t>
            </a:r>
            <a:r>
              <a:rPr lang="en-US" sz="800" dirty="0">
                <a:solidFill>
                  <a:schemeClr val="tx1"/>
                </a:solidFill>
                <a:highlight>
                  <a:srgbClr val="FFFF00"/>
                </a:highlight>
                <a:latin typeface="Nexa Bold" panose="00000800000000000000" pitchFamily="2" charset="0"/>
              </a:rPr>
              <a:t>€</a:t>
            </a:r>
            <a:r>
              <a:rPr lang="en-US" sz="800" dirty="0">
                <a:solidFill>
                  <a:schemeClr val="tx1"/>
                </a:solidFill>
                <a:latin typeface="Nexa Bold" panose="00000800000000000000" pitchFamily="2" charset="0"/>
              </a:rPr>
              <a:t>)</a:t>
            </a:r>
            <a:endPar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endParaRP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Value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ales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M)</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8/11/2025</a:t>
            </a:fld>
            <a:endParaRPr lang="en-US" sz="500"/>
          </a:p>
        </p:txBody>
      </p:sp>
    </p:spTree>
    <p:extLst>
      <p:ext uri="{BB962C8B-B14F-4D97-AF65-F5344CB8AC3E}">
        <p14:creationId xmlns:p14="http://schemas.microsoft.com/office/powerpoint/2010/main" val="420798127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r>
              <a:rPr lang="en-US" dirty="0"/>
              <a:t>Inter-size Discount  | </a:t>
            </a:r>
            <a:r>
              <a:rPr lang="en-US" dirty="0">
                <a:highlight>
                  <a:srgbClr val="FFFF00"/>
                </a:highlight>
              </a:rPr>
              <a:t>Variant</a:t>
            </a:r>
            <a:r>
              <a:rPr lang="en-US" dirty="0"/>
              <a:t> | </a:t>
            </a:r>
            <a:r>
              <a:rPr lang="en-US" dirty="0">
                <a:highlight>
                  <a:srgbClr val="FFFF00"/>
                </a:highlight>
              </a:rPr>
              <a:t>National</a:t>
            </a:r>
            <a:r>
              <a:rPr lang="en-US" dirty="0"/>
              <a:t> | P12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2800073758"/>
              </p:ext>
            </p:extLst>
          </p:nvPr>
        </p:nvGraphicFramePr>
        <p:xfrm>
          <a:off x="555229" y="4265104"/>
          <a:ext cx="7441138"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95492">
                  <a:extLst>
                    <a:ext uri="{9D8B030D-6E8A-4147-A177-3AD203B41FA5}">
                      <a16:colId xmlns:a16="http://schemas.microsoft.com/office/drawing/2014/main" val="2253286919"/>
                    </a:ext>
                  </a:extLst>
                </a:gridCol>
                <a:gridCol w="295492">
                  <a:extLst>
                    <a:ext uri="{9D8B030D-6E8A-4147-A177-3AD203B41FA5}">
                      <a16:colId xmlns:a16="http://schemas.microsoft.com/office/drawing/2014/main" val="2739285047"/>
                    </a:ext>
                  </a:extLst>
                </a:gridCol>
                <a:gridCol w="295492">
                  <a:extLst>
                    <a:ext uri="{9D8B030D-6E8A-4147-A177-3AD203B41FA5}">
                      <a16:colId xmlns:a16="http://schemas.microsoft.com/office/drawing/2014/main" val="686050863"/>
                    </a:ext>
                  </a:extLst>
                </a:gridCol>
                <a:gridCol w="295492">
                  <a:extLst>
                    <a:ext uri="{9D8B030D-6E8A-4147-A177-3AD203B41FA5}">
                      <a16:colId xmlns:a16="http://schemas.microsoft.com/office/drawing/2014/main" val="3765127706"/>
                    </a:ext>
                  </a:extLst>
                </a:gridCol>
                <a:gridCol w="295492">
                  <a:extLst>
                    <a:ext uri="{9D8B030D-6E8A-4147-A177-3AD203B41FA5}">
                      <a16:colId xmlns:a16="http://schemas.microsoft.com/office/drawing/2014/main" val="273303937"/>
                    </a:ext>
                  </a:extLst>
                </a:gridCol>
                <a:gridCol w="295492">
                  <a:extLst>
                    <a:ext uri="{9D8B030D-6E8A-4147-A177-3AD203B41FA5}">
                      <a16:colId xmlns:a16="http://schemas.microsoft.com/office/drawing/2014/main" val="1190134658"/>
                    </a:ext>
                  </a:extLst>
                </a:gridCol>
                <a:gridCol w="295492">
                  <a:extLst>
                    <a:ext uri="{9D8B030D-6E8A-4147-A177-3AD203B41FA5}">
                      <a16:colId xmlns:a16="http://schemas.microsoft.com/office/drawing/2014/main" val="1152288185"/>
                    </a:ext>
                  </a:extLst>
                </a:gridCol>
                <a:gridCol w="295492">
                  <a:extLst>
                    <a:ext uri="{9D8B030D-6E8A-4147-A177-3AD203B41FA5}">
                      <a16:colId xmlns:a16="http://schemas.microsoft.com/office/drawing/2014/main" val="1888319813"/>
                    </a:ext>
                  </a:extLst>
                </a:gridCol>
                <a:gridCol w="295492">
                  <a:extLst>
                    <a:ext uri="{9D8B030D-6E8A-4147-A177-3AD203B41FA5}">
                      <a16:colId xmlns:a16="http://schemas.microsoft.com/office/drawing/2014/main" val="3471064540"/>
                    </a:ext>
                  </a:extLst>
                </a:gridCol>
                <a:gridCol w="295492">
                  <a:extLst>
                    <a:ext uri="{9D8B030D-6E8A-4147-A177-3AD203B41FA5}">
                      <a16:colId xmlns:a16="http://schemas.microsoft.com/office/drawing/2014/main" val="670551899"/>
                    </a:ext>
                  </a:extLst>
                </a:gridCol>
                <a:gridCol w="295492">
                  <a:extLst>
                    <a:ext uri="{9D8B030D-6E8A-4147-A177-3AD203B41FA5}">
                      <a16:colId xmlns:a16="http://schemas.microsoft.com/office/drawing/2014/main" val="1100152168"/>
                    </a:ext>
                  </a:extLst>
                </a:gridCol>
                <a:gridCol w="295492">
                  <a:extLst>
                    <a:ext uri="{9D8B030D-6E8A-4147-A177-3AD203B41FA5}">
                      <a16:colId xmlns:a16="http://schemas.microsoft.com/office/drawing/2014/main" val="2165801595"/>
                    </a:ext>
                  </a:extLst>
                </a:gridCol>
                <a:gridCol w="295492">
                  <a:extLst>
                    <a:ext uri="{9D8B030D-6E8A-4147-A177-3AD203B41FA5}">
                      <a16:colId xmlns:a16="http://schemas.microsoft.com/office/drawing/2014/main" val="3981167565"/>
                    </a:ext>
                  </a:extLst>
                </a:gridCol>
                <a:gridCol w="295492">
                  <a:extLst>
                    <a:ext uri="{9D8B030D-6E8A-4147-A177-3AD203B41FA5}">
                      <a16:colId xmlns:a16="http://schemas.microsoft.com/office/drawing/2014/main" val="2740792325"/>
                    </a:ext>
                  </a:extLst>
                </a:gridCol>
                <a:gridCol w="295492">
                  <a:extLst>
                    <a:ext uri="{9D8B030D-6E8A-4147-A177-3AD203B41FA5}">
                      <a16:colId xmlns:a16="http://schemas.microsoft.com/office/drawing/2014/main" val="54782936"/>
                    </a:ext>
                  </a:extLst>
                </a:gridCol>
                <a:gridCol w="295492">
                  <a:extLst>
                    <a:ext uri="{9D8B030D-6E8A-4147-A177-3AD203B41FA5}">
                      <a16:colId xmlns:a16="http://schemas.microsoft.com/office/drawing/2014/main" val="154020430"/>
                    </a:ext>
                  </a:extLst>
                </a:gridCol>
                <a:gridCol w="295492">
                  <a:extLst>
                    <a:ext uri="{9D8B030D-6E8A-4147-A177-3AD203B41FA5}">
                      <a16:colId xmlns:a16="http://schemas.microsoft.com/office/drawing/2014/main" val="3928813835"/>
                    </a:ext>
                  </a:extLst>
                </a:gridCol>
                <a:gridCol w="295492">
                  <a:extLst>
                    <a:ext uri="{9D8B030D-6E8A-4147-A177-3AD203B41FA5}">
                      <a16:colId xmlns:a16="http://schemas.microsoft.com/office/drawing/2014/main" val="4210253042"/>
                    </a:ext>
                  </a:extLst>
                </a:gridCol>
                <a:gridCol w="295492">
                  <a:extLst>
                    <a:ext uri="{9D8B030D-6E8A-4147-A177-3AD203B41FA5}">
                      <a16:colId xmlns:a16="http://schemas.microsoft.com/office/drawing/2014/main" val="895787419"/>
                    </a:ext>
                  </a:extLst>
                </a:gridCol>
                <a:gridCol w="295492">
                  <a:extLst>
                    <a:ext uri="{9D8B030D-6E8A-4147-A177-3AD203B41FA5}">
                      <a16:colId xmlns:a16="http://schemas.microsoft.com/office/drawing/2014/main" val="3828388578"/>
                    </a:ext>
                  </a:extLst>
                </a:gridCol>
                <a:gridCol w="295492">
                  <a:extLst>
                    <a:ext uri="{9D8B030D-6E8A-4147-A177-3AD203B41FA5}">
                      <a16:colId xmlns:a16="http://schemas.microsoft.com/office/drawing/2014/main" val="742550205"/>
                    </a:ext>
                  </a:extLst>
                </a:gridCol>
                <a:gridCol w="295492">
                  <a:extLst>
                    <a:ext uri="{9D8B030D-6E8A-4147-A177-3AD203B41FA5}">
                      <a16:colId xmlns:a16="http://schemas.microsoft.com/office/drawing/2014/main" val="1408879461"/>
                    </a:ext>
                  </a:extLst>
                </a:gridCol>
              </a:tblGrid>
              <a:tr h="251292">
                <a:tc>
                  <a:txBody>
                    <a:bodyPr/>
                    <a:lstStyle/>
                    <a:p>
                      <a:r>
                        <a:rPr lang="en-US" sz="800" b="1" i="0" dirty="0">
                          <a:solidFill>
                            <a:schemeClr val="bg1"/>
                          </a:solidFill>
                          <a:latin typeface="+mj-lt"/>
                        </a:rPr>
                        <a:t>Sales </a:t>
                      </a:r>
                      <a:r>
                        <a:rPr lang="en-US" sz="800" b="1" i="0">
                          <a:solidFill>
                            <a:schemeClr val="bg1"/>
                          </a:solidFill>
                          <a:latin typeface="+mj-lt"/>
                        </a:rPr>
                        <a:t>Vs. 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rPr dirty="0"/>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rPr dirty="0"/>
                        <a:t>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helf </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Price</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Unit</a:t>
            </a:r>
          </a:p>
          <a:p>
            <a:pPr marL="0" marR="0" lvl="0" indent="0" defTabSz="685749"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Nexa Bold" panose="00000800000000000000" pitchFamily="2" charset="0"/>
              </a:rPr>
              <a:t>(</a:t>
            </a:r>
            <a:r>
              <a:rPr lang="en-US" sz="800" dirty="0">
                <a:solidFill>
                  <a:schemeClr val="tx1"/>
                </a:solidFill>
                <a:highlight>
                  <a:srgbClr val="FFFF00"/>
                </a:highlight>
                <a:latin typeface="Nexa Bold" panose="00000800000000000000" pitchFamily="2" charset="0"/>
              </a:rPr>
              <a:t>€</a:t>
            </a:r>
            <a:r>
              <a:rPr lang="en-US" sz="800" dirty="0">
                <a:solidFill>
                  <a:schemeClr val="tx1"/>
                </a:solidFill>
                <a:latin typeface="Nexa Bold" panose="00000800000000000000" pitchFamily="2" charset="0"/>
              </a:rPr>
              <a:t>)</a:t>
            </a:r>
            <a:endPar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endParaRP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Value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ales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M)</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8/11/2025</a:t>
            </a:fld>
            <a:endParaRPr lang="en-US" sz="500"/>
          </a:p>
        </p:txBody>
      </p:sp>
    </p:spTree>
    <p:extLst>
      <p:ext uri="{BB962C8B-B14F-4D97-AF65-F5344CB8AC3E}">
        <p14:creationId xmlns:p14="http://schemas.microsoft.com/office/powerpoint/2010/main" val="256983757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r>
              <a:rPr lang="en-US" dirty="0"/>
              <a:t>Inter-size Discount  | </a:t>
            </a:r>
            <a:r>
              <a:rPr lang="en-US" dirty="0">
                <a:highlight>
                  <a:srgbClr val="FFFF00"/>
                </a:highlight>
              </a:rPr>
              <a:t>Variant</a:t>
            </a:r>
            <a:r>
              <a:rPr lang="en-US" dirty="0"/>
              <a:t> | </a:t>
            </a:r>
            <a:r>
              <a:rPr lang="en-US" dirty="0">
                <a:highlight>
                  <a:srgbClr val="FFFF00"/>
                </a:highlight>
              </a:rPr>
              <a:t>National</a:t>
            </a:r>
            <a:r>
              <a:rPr lang="en-US" dirty="0"/>
              <a:t> | P12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2800073758"/>
              </p:ext>
            </p:extLst>
          </p:nvPr>
        </p:nvGraphicFramePr>
        <p:xfrm>
          <a:off x="555229" y="4265104"/>
          <a:ext cx="7441138"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95492">
                  <a:extLst>
                    <a:ext uri="{9D8B030D-6E8A-4147-A177-3AD203B41FA5}">
                      <a16:colId xmlns:a16="http://schemas.microsoft.com/office/drawing/2014/main" val="2253286919"/>
                    </a:ext>
                  </a:extLst>
                </a:gridCol>
                <a:gridCol w="295492">
                  <a:extLst>
                    <a:ext uri="{9D8B030D-6E8A-4147-A177-3AD203B41FA5}">
                      <a16:colId xmlns:a16="http://schemas.microsoft.com/office/drawing/2014/main" val="2739285047"/>
                    </a:ext>
                  </a:extLst>
                </a:gridCol>
                <a:gridCol w="295492">
                  <a:extLst>
                    <a:ext uri="{9D8B030D-6E8A-4147-A177-3AD203B41FA5}">
                      <a16:colId xmlns:a16="http://schemas.microsoft.com/office/drawing/2014/main" val="686050863"/>
                    </a:ext>
                  </a:extLst>
                </a:gridCol>
                <a:gridCol w="295492">
                  <a:extLst>
                    <a:ext uri="{9D8B030D-6E8A-4147-A177-3AD203B41FA5}">
                      <a16:colId xmlns:a16="http://schemas.microsoft.com/office/drawing/2014/main" val="3765127706"/>
                    </a:ext>
                  </a:extLst>
                </a:gridCol>
                <a:gridCol w="295492">
                  <a:extLst>
                    <a:ext uri="{9D8B030D-6E8A-4147-A177-3AD203B41FA5}">
                      <a16:colId xmlns:a16="http://schemas.microsoft.com/office/drawing/2014/main" val="273303937"/>
                    </a:ext>
                  </a:extLst>
                </a:gridCol>
                <a:gridCol w="295492">
                  <a:extLst>
                    <a:ext uri="{9D8B030D-6E8A-4147-A177-3AD203B41FA5}">
                      <a16:colId xmlns:a16="http://schemas.microsoft.com/office/drawing/2014/main" val="1190134658"/>
                    </a:ext>
                  </a:extLst>
                </a:gridCol>
                <a:gridCol w="295492">
                  <a:extLst>
                    <a:ext uri="{9D8B030D-6E8A-4147-A177-3AD203B41FA5}">
                      <a16:colId xmlns:a16="http://schemas.microsoft.com/office/drawing/2014/main" val="1152288185"/>
                    </a:ext>
                  </a:extLst>
                </a:gridCol>
                <a:gridCol w="295492">
                  <a:extLst>
                    <a:ext uri="{9D8B030D-6E8A-4147-A177-3AD203B41FA5}">
                      <a16:colId xmlns:a16="http://schemas.microsoft.com/office/drawing/2014/main" val="1888319813"/>
                    </a:ext>
                  </a:extLst>
                </a:gridCol>
                <a:gridCol w="295492">
                  <a:extLst>
                    <a:ext uri="{9D8B030D-6E8A-4147-A177-3AD203B41FA5}">
                      <a16:colId xmlns:a16="http://schemas.microsoft.com/office/drawing/2014/main" val="3471064540"/>
                    </a:ext>
                  </a:extLst>
                </a:gridCol>
                <a:gridCol w="295492">
                  <a:extLst>
                    <a:ext uri="{9D8B030D-6E8A-4147-A177-3AD203B41FA5}">
                      <a16:colId xmlns:a16="http://schemas.microsoft.com/office/drawing/2014/main" val="670551899"/>
                    </a:ext>
                  </a:extLst>
                </a:gridCol>
                <a:gridCol w="295492">
                  <a:extLst>
                    <a:ext uri="{9D8B030D-6E8A-4147-A177-3AD203B41FA5}">
                      <a16:colId xmlns:a16="http://schemas.microsoft.com/office/drawing/2014/main" val="1100152168"/>
                    </a:ext>
                  </a:extLst>
                </a:gridCol>
                <a:gridCol w="295492">
                  <a:extLst>
                    <a:ext uri="{9D8B030D-6E8A-4147-A177-3AD203B41FA5}">
                      <a16:colId xmlns:a16="http://schemas.microsoft.com/office/drawing/2014/main" val="2165801595"/>
                    </a:ext>
                  </a:extLst>
                </a:gridCol>
                <a:gridCol w="295492">
                  <a:extLst>
                    <a:ext uri="{9D8B030D-6E8A-4147-A177-3AD203B41FA5}">
                      <a16:colId xmlns:a16="http://schemas.microsoft.com/office/drawing/2014/main" val="3981167565"/>
                    </a:ext>
                  </a:extLst>
                </a:gridCol>
                <a:gridCol w="295492">
                  <a:extLst>
                    <a:ext uri="{9D8B030D-6E8A-4147-A177-3AD203B41FA5}">
                      <a16:colId xmlns:a16="http://schemas.microsoft.com/office/drawing/2014/main" val="2740792325"/>
                    </a:ext>
                  </a:extLst>
                </a:gridCol>
                <a:gridCol w="295492">
                  <a:extLst>
                    <a:ext uri="{9D8B030D-6E8A-4147-A177-3AD203B41FA5}">
                      <a16:colId xmlns:a16="http://schemas.microsoft.com/office/drawing/2014/main" val="54782936"/>
                    </a:ext>
                  </a:extLst>
                </a:gridCol>
                <a:gridCol w="295492">
                  <a:extLst>
                    <a:ext uri="{9D8B030D-6E8A-4147-A177-3AD203B41FA5}">
                      <a16:colId xmlns:a16="http://schemas.microsoft.com/office/drawing/2014/main" val="154020430"/>
                    </a:ext>
                  </a:extLst>
                </a:gridCol>
                <a:gridCol w="295492">
                  <a:extLst>
                    <a:ext uri="{9D8B030D-6E8A-4147-A177-3AD203B41FA5}">
                      <a16:colId xmlns:a16="http://schemas.microsoft.com/office/drawing/2014/main" val="3928813835"/>
                    </a:ext>
                  </a:extLst>
                </a:gridCol>
                <a:gridCol w="295492">
                  <a:extLst>
                    <a:ext uri="{9D8B030D-6E8A-4147-A177-3AD203B41FA5}">
                      <a16:colId xmlns:a16="http://schemas.microsoft.com/office/drawing/2014/main" val="4210253042"/>
                    </a:ext>
                  </a:extLst>
                </a:gridCol>
                <a:gridCol w="295492">
                  <a:extLst>
                    <a:ext uri="{9D8B030D-6E8A-4147-A177-3AD203B41FA5}">
                      <a16:colId xmlns:a16="http://schemas.microsoft.com/office/drawing/2014/main" val="895787419"/>
                    </a:ext>
                  </a:extLst>
                </a:gridCol>
                <a:gridCol w="295492">
                  <a:extLst>
                    <a:ext uri="{9D8B030D-6E8A-4147-A177-3AD203B41FA5}">
                      <a16:colId xmlns:a16="http://schemas.microsoft.com/office/drawing/2014/main" val="3828388578"/>
                    </a:ext>
                  </a:extLst>
                </a:gridCol>
                <a:gridCol w="295492">
                  <a:extLst>
                    <a:ext uri="{9D8B030D-6E8A-4147-A177-3AD203B41FA5}">
                      <a16:colId xmlns:a16="http://schemas.microsoft.com/office/drawing/2014/main" val="742550205"/>
                    </a:ext>
                  </a:extLst>
                </a:gridCol>
                <a:gridCol w="295492">
                  <a:extLst>
                    <a:ext uri="{9D8B030D-6E8A-4147-A177-3AD203B41FA5}">
                      <a16:colId xmlns:a16="http://schemas.microsoft.com/office/drawing/2014/main" val="1408879461"/>
                    </a:ext>
                  </a:extLst>
                </a:gridCol>
              </a:tblGrid>
              <a:tr h="251292">
                <a:tc>
                  <a:txBody>
                    <a:bodyPr/>
                    <a:lstStyle/>
                    <a:p>
                      <a:r>
                        <a:rPr lang="en-US" sz="800" b="1" i="0" dirty="0">
                          <a:solidFill>
                            <a:schemeClr val="bg1"/>
                          </a:solidFill>
                          <a:latin typeface="+mj-lt"/>
                        </a:rPr>
                        <a:t>Sales </a:t>
                      </a:r>
                      <a:r>
                        <a:rPr lang="en-US" sz="800" b="1" i="0">
                          <a:solidFill>
                            <a:schemeClr val="bg1"/>
                          </a:solidFill>
                          <a:latin typeface="+mj-lt"/>
                        </a:rPr>
                        <a:t>Vs. 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rPr dirty="0"/>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rPr dirty="0"/>
                        <a:t>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helf </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Price</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Unit</a:t>
            </a:r>
          </a:p>
          <a:p>
            <a:pPr marL="0" marR="0" lvl="0" indent="0" defTabSz="685749"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Nexa Bold" panose="00000800000000000000" pitchFamily="2" charset="0"/>
              </a:rPr>
              <a:t>(</a:t>
            </a:r>
            <a:r>
              <a:rPr lang="en-US" sz="800" dirty="0">
                <a:solidFill>
                  <a:schemeClr val="tx1"/>
                </a:solidFill>
                <a:highlight>
                  <a:srgbClr val="FFFF00"/>
                </a:highlight>
                <a:latin typeface="Nexa Bold" panose="00000800000000000000" pitchFamily="2" charset="0"/>
              </a:rPr>
              <a:t>€</a:t>
            </a:r>
            <a:r>
              <a:rPr lang="en-US" sz="800" dirty="0">
                <a:solidFill>
                  <a:schemeClr val="tx1"/>
                </a:solidFill>
                <a:latin typeface="Nexa Bold" panose="00000800000000000000" pitchFamily="2" charset="0"/>
              </a:rPr>
              <a:t>)</a:t>
            </a:r>
            <a:endPar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endParaRP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Value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ales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M)</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8/11/2025</a:t>
            </a:fld>
            <a:endParaRPr lang="en-US" sz="500"/>
          </a:p>
        </p:txBody>
      </p:sp>
    </p:spTree>
    <p:extLst>
      <p:ext uri="{BB962C8B-B14F-4D97-AF65-F5344CB8AC3E}">
        <p14:creationId xmlns:p14="http://schemas.microsoft.com/office/powerpoint/2010/main" val="374528012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r>
              <a:rPr lang="en-US" dirty="0"/>
              <a:t>Inter-size Discount  | </a:t>
            </a:r>
            <a:r>
              <a:rPr lang="en-US" dirty="0">
                <a:highlight>
                  <a:srgbClr val="FFFF00"/>
                </a:highlight>
              </a:rPr>
              <a:t>Variant</a:t>
            </a:r>
            <a:r>
              <a:rPr lang="en-US" dirty="0"/>
              <a:t> | </a:t>
            </a:r>
            <a:r>
              <a:rPr lang="en-US" dirty="0">
                <a:highlight>
                  <a:srgbClr val="FFFF00"/>
                </a:highlight>
              </a:rPr>
              <a:t>National</a:t>
            </a:r>
            <a:r>
              <a:rPr lang="en-US" dirty="0"/>
              <a:t> | P12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2800073758"/>
              </p:ext>
            </p:extLst>
          </p:nvPr>
        </p:nvGraphicFramePr>
        <p:xfrm>
          <a:off x="555229" y="4265104"/>
          <a:ext cx="7441138"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95492">
                  <a:extLst>
                    <a:ext uri="{9D8B030D-6E8A-4147-A177-3AD203B41FA5}">
                      <a16:colId xmlns:a16="http://schemas.microsoft.com/office/drawing/2014/main" val="2253286919"/>
                    </a:ext>
                  </a:extLst>
                </a:gridCol>
                <a:gridCol w="295492">
                  <a:extLst>
                    <a:ext uri="{9D8B030D-6E8A-4147-A177-3AD203B41FA5}">
                      <a16:colId xmlns:a16="http://schemas.microsoft.com/office/drawing/2014/main" val="2739285047"/>
                    </a:ext>
                  </a:extLst>
                </a:gridCol>
                <a:gridCol w="295492">
                  <a:extLst>
                    <a:ext uri="{9D8B030D-6E8A-4147-A177-3AD203B41FA5}">
                      <a16:colId xmlns:a16="http://schemas.microsoft.com/office/drawing/2014/main" val="686050863"/>
                    </a:ext>
                  </a:extLst>
                </a:gridCol>
                <a:gridCol w="295492">
                  <a:extLst>
                    <a:ext uri="{9D8B030D-6E8A-4147-A177-3AD203B41FA5}">
                      <a16:colId xmlns:a16="http://schemas.microsoft.com/office/drawing/2014/main" val="3765127706"/>
                    </a:ext>
                  </a:extLst>
                </a:gridCol>
                <a:gridCol w="295492">
                  <a:extLst>
                    <a:ext uri="{9D8B030D-6E8A-4147-A177-3AD203B41FA5}">
                      <a16:colId xmlns:a16="http://schemas.microsoft.com/office/drawing/2014/main" val="273303937"/>
                    </a:ext>
                  </a:extLst>
                </a:gridCol>
                <a:gridCol w="295492">
                  <a:extLst>
                    <a:ext uri="{9D8B030D-6E8A-4147-A177-3AD203B41FA5}">
                      <a16:colId xmlns:a16="http://schemas.microsoft.com/office/drawing/2014/main" val="1190134658"/>
                    </a:ext>
                  </a:extLst>
                </a:gridCol>
                <a:gridCol w="295492">
                  <a:extLst>
                    <a:ext uri="{9D8B030D-6E8A-4147-A177-3AD203B41FA5}">
                      <a16:colId xmlns:a16="http://schemas.microsoft.com/office/drawing/2014/main" val="1152288185"/>
                    </a:ext>
                  </a:extLst>
                </a:gridCol>
                <a:gridCol w="295492">
                  <a:extLst>
                    <a:ext uri="{9D8B030D-6E8A-4147-A177-3AD203B41FA5}">
                      <a16:colId xmlns:a16="http://schemas.microsoft.com/office/drawing/2014/main" val="1888319813"/>
                    </a:ext>
                  </a:extLst>
                </a:gridCol>
                <a:gridCol w="295492">
                  <a:extLst>
                    <a:ext uri="{9D8B030D-6E8A-4147-A177-3AD203B41FA5}">
                      <a16:colId xmlns:a16="http://schemas.microsoft.com/office/drawing/2014/main" val="3471064540"/>
                    </a:ext>
                  </a:extLst>
                </a:gridCol>
                <a:gridCol w="295492">
                  <a:extLst>
                    <a:ext uri="{9D8B030D-6E8A-4147-A177-3AD203B41FA5}">
                      <a16:colId xmlns:a16="http://schemas.microsoft.com/office/drawing/2014/main" val="670551899"/>
                    </a:ext>
                  </a:extLst>
                </a:gridCol>
                <a:gridCol w="295492">
                  <a:extLst>
                    <a:ext uri="{9D8B030D-6E8A-4147-A177-3AD203B41FA5}">
                      <a16:colId xmlns:a16="http://schemas.microsoft.com/office/drawing/2014/main" val="1100152168"/>
                    </a:ext>
                  </a:extLst>
                </a:gridCol>
                <a:gridCol w="295492">
                  <a:extLst>
                    <a:ext uri="{9D8B030D-6E8A-4147-A177-3AD203B41FA5}">
                      <a16:colId xmlns:a16="http://schemas.microsoft.com/office/drawing/2014/main" val="2165801595"/>
                    </a:ext>
                  </a:extLst>
                </a:gridCol>
                <a:gridCol w="295492">
                  <a:extLst>
                    <a:ext uri="{9D8B030D-6E8A-4147-A177-3AD203B41FA5}">
                      <a16:colId xmlns:a16="http://schemas.microsoft.com/office/drawing/2014/main" val="3981167565"/>
                    </a:ext>
                  </a:extLst>
                </a:gridCol>
                <a:gridCol w="295492">
                  <a:extLst>
                    <a:ext uri="{9D8B030D-6E8A-4147-A177-3AD203B41FA5}">
                      <a16:colId xmlns:a16="http://schemas.microsoft.com/office/drawing/2014/main" val="2740792325"/>
                    </a:ext>
                  </a:extLst>
                </a:gridCol>
                <a:gridCol w="295492">
                  <a:extLst>
                    <a:ext uri="{9D8B030D-6E8A-4147-A177-3AD203B41FA5}">
                      <a16:colId xmlns:a16="http://schemas.microsoft.com/office/drawing/2014/main" val="54782936"/>
                    </a:ext>
                  </a:extLst>
                </a:gridCol>
                <a:gridCol w="295492">
                  <a:extLst>
                    <a:ext uri="{9D8B030D-6E8A-4147-A177-3AD203B41FA5}">
                      <a16:colId xmlns:a16="http://schemas.microsoft.com/office/drawing/2014/main" val="154020430"/>
                    </a:ext>
                  </a:extLst>
                </a:gridCol>
                <a:gridCol w="295492">
                  <a:extLst>
                    <a:ext uri="{9D8B030D-6E8A-4147-A177-3AD203B41FA5}">
                      <a16:colId xmlns:a16="http://schemas.microsoft.com/office/drawing/2014/main" val="3928813835"/>
                    </a:ext>
                  </a:extLst>
                </a:gridCol>
                <a:gridCol w="295492">
                  <a:extLst>
                    <a:ext uri="{9D8B030D-6E8A-4147-A177-3AD203B41FA5}">
                      <a16:colId xmlns:a16="http://schemas.microsoft.com/office/drawing/2014/main" val="4210253042"/>
                    </a:ext>
                  </a:extLst>
                </a:gridCol>
                <a:gridCol w="295492">
                  <a:extLst>
                    <a:ext uri="{9D8B030D-6E8A-4147-A177-3AD203B41FA5}">
                      <a16:colId xmlns:a16="http://schemas.microsoft.com/office/drawing/2014/main" val="895787419"/>
                    </a:ext>
                  </a:extLst>
                </a:gridCol>
                <a:gridCol w="295492">
                  <a:extLst>
                    <a:ext uri="{9D8B030D-6E8A-4147-A177-3AD203B41FA5}">
                      <a16:colId xmlns:a16="http://schemas.microsoft.com/office/drawing/2014/main" val="3828388578"/>
                    </a:ext>
                  </a:extLst>
                </a:gridCol>
                <a:gridCol w="295492">
                  <a:extLst>
                    <a:ext uri="{9D8B030D-6E8A-4147-A177-3AD203B41FA5}">
                      <a16:colId xmlns:a16="http://schemas.microsoft.com/office/drawing/2014/main" val="742550205"/>
                    </a:ext>
                  </a:extLst>
                </a:gridCol>
                <a:gridCol w="295492">
                  <a:extLst>
                    <a:ext uri="{9D8B030D-6E8A-4147-A177-3AD203B41FA5}">
                      <a16:colId xmlns:a16="http://schemas.microsoft.com/office/drawing/2014/main" val="1408879461"/>
                    </a:ext>
                  </a:extLst>
                </a:gridCol>
              </a:tblGrid>
              <a:tr h="251292">
                <a:tc>
                  <a:txBody>
                    <a:bodyPr/>
                    <a:lstStyle/>
                    <a:p>
                      <a:r>
                        <a:rPr lang="en-US" sz="800" b="1" i="0" dirty="0">
                          <a:solidFill>
                            <a:schemeClr val="bg1"/>
                          </a:solidFill>
                          <a:latin typeface="+mj-lt"/>
                        </a:rPr>
                        <a:t>Sales </a:t>
                      </a:r>
                      <a:r>
                        <a:rPr lang="en-US" sz="800" b="1" i="0">
                          <a:solidFill>
                            <a:schemeClr val="bg1"/>
                          </a:solidFill>
                          <a:latin typeface="+mj-lt"/>
                        </a:rPr>
                        <a:t>Vs. 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rPr dirty="0"/>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rPr dirty="0"/>
                        <a:t>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helf </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Price</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Unit</a:t>
            </a:r>
          </a:p>
          <a:p>
            <a:pPr marL="0" marR="0" lvl="0" indent="0" defTabSz="685749"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Nexa Bold" panose="00000800000000000000" pitchFamily="2" charset="0"/>
              </a:rPr>
              <a:t>(</a:t>
            </a:r>
            <a:r>
              <a:rPr lang="en-US" sz="800" dirty="0">
                <a:solidFill>
                  <a:schemeClr val="tx1"/>
                </a:solidFill>
                <a:highlight>
                  <a:srgbClr val="FFFF00"/>
                </a:highlight>
                <a:latin typeface="Nexa Bold" panose="00000800000000000000" pitchFamily="2" charset="0"/>
              </a:rPr>
              <a:t>€</a:t>
            </a:r>
            <a:r>
              <a:rPr lang="en-US" sz="800" dirty="0">
                <a:solidFill>
                  <a:schemeClr val="tx1"/>
                </a:solidFill>
                <a:latin typeface="Nexa Bold" panose="00000800000000000000" pitchFamily="2" charset="0"/>
              </a:rPr>
              <a:t>)</a:t>
            </a:r>
            <a:endPar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endParaRP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Value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ales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M)</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8/11/2025</a:t>
            </a:fld>
            <a:endParaRPr lang="en-US" sz="500"/>
          </a:p>
        </p:txBody>
      </p:sp>
    </p:spTree>
    <p:extLst>
      <p:ext uri="{BB962C8B-B14F-4D97-AF65-F5344CB8AC3E}">
        <p14:creationId xmlns:p14="http://schemas.microsoft.com/office/powerpoint/2010/main" val="181764564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r>
              <a:rPr lang="en-US" dirty="0"/>
              <a:t>Inter-size Discount  | </a:t>
            </a:r>
            <a:r>
              <a:rPr lang="en-US" dirty="0">
                <a:highlight>
                  <a:srgbClr val="FFFF00"/>
                </a:highlight>
              </a:rPr>
              <a:t>Variant</a:t>
            </a:r>
            <a:r>
              <a:rPr lang="en-US" dirty="0"/>
              <a:t> | </a:t>
            </a:r>
            <a:r>
              <a:rPr lang="en-US" dirty="0">
                <a:highlight>
                  <a:srgbClr val="FFFF00"/>
                </a:highlight>
              </a:rPr>
              <a:t>National</a:t>
            </a:r>
            <a:r>
              <a:rPr lang="en-US" dirty="0"/>
              <a:t> | P12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2800073758"/>
              </p:ext>
            </p:extLst>
          </p:nvPr>
        </p:nvGraphicFramePr>
        <p:xfrm>
          <a:off x="555229" y="4265104"/>
          <a:ext cx="7441138"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95492">
                  <a:extLst>
                    <a:ext uri="{9D8B030D-6E8A-4147-A177-3AD203B41FA5}">
                      <a16:colId xmlns:a16="http://schemas.microsoft.com/office/drawing/2014/main" val="2253286919"/>
                    </a:ext>
                  </a:extLst>
                </a:gridCol>
                <a:gridCol w="295492">
                  <a:extLst>
                    <a:ext uri="{9D8B030D-6E8A-4147-A177-3AD203B41FA5}">
                      <a16:colId xmlns:a16="http://schemas.microsoft.com/office/drawing/2014/main" val="2739285047"/>
                    </a:ext>
                  </a:extLst>
                </a:gridCol>
                <a:gridCol w="295492">
                  <a:extLst>
                    <a:ext uri="{9D8B030D-6E8A-4147-A177-3AD203B41FA5}">
                      <a16:colId xmlns:a16="http://schemas.microsoft.com/office/drawing/2014/main" val="686050863"/>
                    </a:ext>
                  </a:extLst>
                </a:gridCol>
                <a:gridCol w="295492">
                  <a:extLst>
                    <a:ext uri="{9D8B030D-6E8A-4147-A177-3AD203B41FA5}">
                      <a16:colId xmlns:a16="http://schemas.microsoft.com/office/drawing/2014/main" val="3765127706"/>
                    </a:ext>
                  </a:extLst>
                </a:gridCol>
                <a:gridCol w="295492">
                  <a:extLst>
                    <a:ext uri="{9D8B030D-6E8A-4147-A177-3AD203B41FA5}">
                      <a16:colId xmlns:a16="http://schemas.microsoft.com/office/drawing/2014/main" val="273303937"/>
                    </a:ext>
                  </a:extLst>
                </a:gridCol>
                <a:gridCol w="295492">
                  <a:extLst>
                    <a:ext uri="{9D8B030D-6E8A-4147-A177-3AD203B41FA5}">
                      <a16:colId xmlns:a16="http://schemas.microsoft.com/office/drawing/2014/main" val="1190134658"/>
                    </a:ext>
                  </a:extLst>
                </a:gridCol>
                <a:gridCol w="295492">
                  <a:extLst>
                    <a:ext uri="{9D8B030D-6E8A-4147-A177-3AD203B41FA5}">
                      <a16:colId xmlns:a16="http://schemas.microsoft.com/office/drawing/2014/main" val="1152288185"/>
                    </a:ext>
                  </a:extLst>
                </a:gridCol>
                <a:gridCol w="295492">
                  <a:extLst>
                    <a:ext uri="{9D8B030D-6E8A-4147-A177-3AD203B41FA5}">
                      <a16:colId xmlns:a16="http://schemas.microsoft.com/office/drawing/2014/main" val="1888319813"/>
                    </a:ext>
                  </a:extLst>
                </a:gridCol>
                <a:gridCol w="295492">
                  <a:extLst>
                    <a:ext uri="{9D8B030D-6E8A-4147-A177-3AD203B41FA5}">
                      <a16:colId xmlns:a16="http://schemas.microsoft.com/office/drawing/2014/main" val="3471064540"/>
                    </a:ext>
                  </a:extLst>
                </a:gridCol>
                <a:gridCol w="295492">
                  <a:extLst>
                    <a:ext uri="{9D8B030D-6E8A-4147-A177-3AD203B41FA5}">
                      <a16:colId xmlns:a16="http://schemas.microsoft.com/office/drawing/2014/main" val="670551899"/>
                    </a:ext>
                  </a:extLst>
                </a:gridCol>
                <a:gridCol w="295492">
                  <a:extLst>
                    <a:ext uri="{9D8B030D-6E8A-4147-A177-3AD203B41FA5}">
                      <a16:colId xmlns:a16="http://schemas.microsoft.com/office/drawing/2014/main" val="1100152168"/>
                    </a:ext>
                  </a:extLst>
                </a:gridCol>
                <a:gridCol w="295492">
                  <a:extLst>
                    <a:ext uri="{9D8B030D-6E8A-4147-A177-3AD203B41FA5}">
                      <a16:colId xmlns:a16="http://schemas.microsoft.com/office/drawing/2014/main" val="2165801595"/>
                    </a:ext>
                  </a:extLst>
                </a:gridCol>
                <a:gridCol w="295492">
                  <a:extLst>
                    <a:ext uri="{9D8B030D-6E8A-4147-A177-3AD203B41FA5}">
                      <a16:colId xmlns:a16="http://schemas.microsoft.com/office/drawing/2014/main" val="3981167565"/>
                    </a:ext>
                  </a:extLst>
                </a:gridCol>
                <a:gridCol w="295492">
                  <a:extLst>
                    <a:ext uri="{9D8B030D-6E8A-4147-A177-3AD203B41FA5}">
                      <a16:colId xmlns:a16="http://schemas.microsoft.com/office/drawing/2014/main" val="2740792325"/>
                    </a:ext>
                  </a:extLst>
                </a:gridCol>
                <a:gridCol w="295492">
                  <a:extLst>
                    <a:ext uri="{9D8B030D-6E8A-4147-A177-3AD203B41FA5}">
                      <a16:colId xmlns:a16="http://schemas.microsoft.com/office/drawing/2014/main" val="54782936"/>
                    </a:ext>
                  </a:extLst>
                </a:gridCol>
                <a:gridCol w="295492">
                  <a:extLst>
                    <a:ext uri="{9D8B030D-6E8A-4147-A177-3AD203B41FA5}">
                      <a16:colId xmlns:a16="http://schemas.microsoft.com/office/drawing/2014/main" val="154020430"/>
                    </a:ext>
                  </a:extLst>
                </a:gridCol>
                <a:gridCol w="295492">
                  <a:extLst>
                    <a:ext uri="{9D8B030D-6E8A-4147-A177-3AD203B41FA5}">
                      <a16:colId xmlns:a16="http://schemas.microsoft.com/office/drawing/2014/main" val="3928813835"/>
                    </a:ext>
                  </a:extLst>
                </a:gridCol>
                <a:gridCol w="295492">
                  <a:extLst>
                    <a:ext uri="{9D8B030D-6E8A-4147-A177-3AD203B41FA5}">
                      <a16:colId xmlns:a16="http://schemas.microsoft.com/office/drawing/2014/main" val="4210253042"/>
                    </a:ext>
                  </a:extLst>
                </a:gridCol>
                <a:gridCol w="295492">
                  <a:extLst>
                    <a:ext uri="{9D8B030D-6E8A-4147-A177-3AD203B41FA5}">
                      <a16:colId xmlns:a16="http://schemas.microsoft.com/office/drawing/2014/main" val="895787419"/>
                    </a:ext>
                  </a:extLst>
                </a:gridCol>
                <a:gridCol w="295492">
                  <a:extLst>
                    <a:ext uri="{9D8B030D-6E8A-4147-A177-3AD203B41FA5}">
                      <a16:colId xmlns:a16="http://schemas.microsoft.com/office/drawing/2014/main" val="3828388578"/>
                    </a:ext>
                  </a:extLst>
                </a:gridCol>
                <a:gridCol w="295492">
                  <a:extLst>
                    <a:ext uri="{9D8B030D-6E8A-4147-A177-3AD203B41FA5}">
                      <a16:colId xmlns:a16="http://schemas.microsoft.com/office/drawing/2014/main" val="742550205"/>
                    </a:ext>
                  </a:extLst>
                </a:gridCol>
                <a:gridCol w="295492">
                  <a:extLst>
                    <a:ext uri="{9D8B030D-6E8A-4147-A177-3AD203B41FA5}">
                      <a16:colId xmlns:a16="http://schemas.microsoft.com/office/drawing/2014/main" val="1408879461"/>
                    </a:ext>
                  </a:extLst>
                </a:gridCol>
              </a:tblGrid>
              <a:tr h="251292">
                <a:tc>
                  <a:txBody>
                    <a:bodyPr/>
                    <a:lstStyle/>
                    <a:p>
                      <a:r>
                        <a:rPr lang="en-US" sz="800" b="1" i="0" dirty="0">
                          <a:solidFill>
                            <a:schemeClr val="bg1"/>
                          </a:solidFill>
                          <a:latin typeface="+mj-lt"/>
                        </a:rPr>
                        <a:t>Sales </a:t>
                      </a:r>
                      <a:r>
                        <a:rPr lang="en-US" sz="800" b="1" i="0">
                          <a:solidFill>
                            <a:schemeClr val="bg1"/>
                          </a:solidFill>
                          <a:latin typeface="+mj-lt"/>
                        </a:rPr>
                        <a:t>Vs. 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rPr dirty="0"/>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rPr dirty="0"/>
                        <a:t>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helf </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Price</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Unit</a:t>
            </a:r>
          </a:p>
          <a:p>
            <a:pPr marL="0" marR="0" lvl="0" indent="0" defTabSz="685749"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Nexa Bold" panose="00000800000000000000" pitchFamily="2" charset="0"/>
              </a:rPr>
              <a:t>(</a:t>
            </a:r>
            <a:r>
              <a:rPr lang="en-US" sz="800" dirty="0">
                <a:solidFill>
                  <a:schemeClr val="tx1"/>
                </a:solidFill>
                <a:highlight>
                  <a:srgbClr val="FFFF00"/>
                </a:highlight>
                <a:latin typeface="Nexa Bold" panose="00000800000000000000" pitchFamily="2" charset="0"/>
              </a:rPr>
              <a:t>€</a:t>
            </a:r>
            <a:r>
              <a:rPr lang="en-US" sz="800" dirty="0">
                <a:solidFill>
                  <a:schemeClr val="tx1"/>
                </a:solidFill>
                <a:latin typeface="Nexa Bold" panose="00000800000000000000" pitchFamily="2" charset="0"/>
              </a:rPr>
              <a:t>)</a:t>
            </a:r>
            <a:endPar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endParaRP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Value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ales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M)</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8/11/2025</a:t>
            </a:fld>
            <a:endParaRPr lang="en-US" sz="500"/>
          </a:p>
        </p:txBody>
      </p:sp>
    </p:spTree>
    <p:extLst>
      <p:ext uri="{BB962C8B-B14F-4D97-AF65-F5344CB8AC3E}">
        <p14:creationId xmlns:p14="http://schemas.microsoft.com/office/powerpoint/2010/main" val="301625429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r>
              <a:rPr lang="en-US" dirty="0"/>
              <a:t>Inter-size Discount  | </a:t>
            </a:r>
            <a:r>
              <a:rPr lang="en-US" dirty="0">
                <a:highlight>
                  <a:srgbClr val="FFFF00"/>
                </a:highlight>
              </a:rPr>
              <a:t>Variant</a:t>
            </a:r>
            <a:r>
              <a:rPr lang="en-US" dirty="0"/>
              <a:t> | </a:t>
            </a:r>
            <a:r>
              <a:rPr lang="en-US" dirty="0">
                <a:highlight>
                  <a:srgbClr val="FFFF00"/>
                </a:highlight>
              </a:rPr>
              <a:t>National</a:t>
            </a:r>
            <a:r>
              <a:rPr lang="en-US" dirty="0"/>
              <a:t> | P12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2800073758"/>
              </p:ext>
            </p:extLst>
          </p:nvPr>
        </p:nvGraphicFramePr>
        <p:xfrm>
          <a:off x="555229" y="4265104"/>
          <a:ext cx="7441138"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95492">
                  <a:extLst>
                    <a:ext uri="{9D8B030D-6E8A-4147-A177-3AD203B41FA5}">
                      <a16:colId xmlns:a16="http://schemas.microsoft.com/office/drawing/2014/main" val="2253286919"/>
                    </a:ext>
                  </a:extLst>
                </a:gridCol>
                <a:gridCol w="295492">
                  <a:extLst>
                    <a:ext uri="{9D8B030D-6E8A-4147-A177-3AD203B41FA5}">
                      <a16:colId xmlns:a16="http://schemas.microsoft.com/office/drawing/2014/main" val="2739285047"/>
                    </a:ext>
                  </a:extLst>
                </a:gridCol>
                <a:gridCol w="295492">
                  <a:extLst>
                    <a:ext uri="{9D8B030D-6E8A-4147-A177-3AD203B41FA5}">
                      <a16:colId xmlns:a16="http://schemas.microsoft.com/office/drawing/2014/main" val="686050863"/>
                    </a:ext>
                  </a:extLst>
                </a:gridCol>
                <a:gridCol w="295492">
                  <a:extLst>
                    <a:ext uri="{9D8B030D-6E8A-4147-A177-3AD203B41FA5}">
                      <a16:colId xmlns:a16="http://schemas.microsoft.com/office/drawing/2014/main" val="3765127706"/>
                    </a:ext>
                  </a:extLst>
                </a:gridCol>
                <a:gridCol w="295492">
                  <a:extLst>
                    <a:ext uri="{9D8B030D-6E8A-4147-A177-3AD203B41FA5}">
                      <a16:colId xmlns:a16="http://schemas.microsoft.com/office/drawing/2014/main" val="273303937"/>
                    </a:ext>
                  </a:extLst>
                </a:gridCol>
                <a:gridCol w="295492">
                  <a:extLst>
                    <a:ext uri="{9D8B030D-6E8A-4147-A177-3AD203B41FA5}">
                      <a16:colId xmlns:a16="http://schemas.microsoft.com/office/drawing/2014/main" val="1190134658"/>
                    </a:ext>
                  </a:extLst>
                </a:gridCol>
                <a:gridCol w="295492">
                  <a:extLst>
                    <a:ext uri="{9D8B030D-6E8A-4147-A177-3AD203B41FA5}">
                      <a16:colId xmlns:a16="http://schemas.microsoft.com/office/drawing/2014/main" val="1152288185"/>
                    </a:ext>
                  </a:extLst>
                </a:gridCol>
                <a:gridCol w="295492">
                  <a:extLst>
                    <a:ext uri="{9D8B030D-6E8A-4147-A177-3AD203B41FA5}">
                      <a16:colId xmlns:a16="http://schemas.microsoft.com/office/drawing/2014/main" val="1888319813"/>
                    </a:ext>
                  </a:extLst>
                </a:gridCol>
                <a:gridCol w="295492">
                  <a:extLst>
                    <a:ext uri="{9D8B030D-6E8A-4147-A177-3AD203B41FA5}">
                      <a16:colId xmlns:a16="http://schemas.microsoft.com/office/drawing/2014/main" val="3471064540"/>
                    </a:ext>
                  </a:extLst>
                </a:gridCol>
                <a:gridCol w="295492">
                  <a:extLst>
                    <a:ext uri="{9D8B030D-6E8A-4147-A177-3AD203B41FA5}">
                      <a16:colId xmlns:a16="http://schemas.microsoft.com/office/drawing/2014/main" val="670551899"/>
                    </a:ext>
                  </a:extLst>
                </a:gridCol>
                <a:gridCol w="295492">
                  <a:extLst>
                    <a:ext uri="{9D8B030D-6E8A-4147-A177-3AD203B41FA5}">
                      <a16:colId xmlns:a16="http://schemas.microsoft.com/office/drawing/2014/main" val="1100152168"/>
                    </a:ext>
                  </a:extLst>
                </a:gridCol>
                <a:gridCol w="295492">
                  <a:extLst>
                    <a:ext uri="{9D8B030D-6E8A-4147-A177-3AD203B41FA5}">
                      <a16:colId xmlns:a16="http://schemas.microsoft.com/office/drawing/2014/main" val="2165801595"/>
                    </a:ext>
                  </a:extLst>
                </a:gridCol>
                <a:gridCol w="295492">
                  <a:extLst>
                    <a:ext uri="{9D8B030D-6E8A-4147-A177-3AD203B41FA5}">
                      <a16:colId xmlns:a16="http://schemas.microsoft.com/office/drawing/2014/main" val="3981167565"/>
                    </a:ext>
                  </a:extLst>
                </a:gridCol>
                <a:gridCol w="295492">
                  <a:extLst>
                    <a:ext uri="{9D8B030D-6E8A-4147-A177-3AD203B41FA5}">
                      <a16:colId xmlns:a16="http://schemas.microsoft.com/office/drawing/2014/main" val="2740792325"/>
                    </a:ext>
                  </a:extLst>
                </a:gridCol>
                <a:gridCol w="295492">
                  <a:extLst>
                    <a:ext uri="{9D8B030D-6E8A-4147-A177-3AD203B41FA5}">
                      <a16:colId xmlns:a16="http://schemas.microsoft.com/office/drawing/2014/main" val="54782936"/>
                    </a:ext>
                  </a:extLst>
                </a:gridCol>
                <a:gridCol w="295492">
                  <a:extLst>
                    <a:ext uri="{9D8B030D-6E8A-4147-A177-3AD203B41FA5}">
                      <a16:colId xmlns:a16="http://schemas.microsoft.com/office/drawing/2014/main" val="154020430"/>
                    </a:ext>
                  </a:extLst>
                </a:gridCol>
                <a:gridCol w="295492">
                  <a:extLst>
                    <a:ext uri="{9D8B030D-6E8A-4147-A177-3AD203B41FA5}">
                      <a16:colId xmlns:a16="http://schemas.microsoft.com/office/drawing/2014/main" val="3928813835"/>
                    </a:ext>
                  </a:extLst>
                </a:gridCol>
                <a:gridCol w="295492">
                  <a:extLst>
                    <a:ext uri="{9D8B030D-6E8A-4147-A177-3AD203B41FA5}">
                      <a16:colId xmlns:a16="http://schemas.microsoft.com/office/drawing/2014/main" val="4210253042"/>
                    </a:ext>
                  </a:extLst>
                </a:gridCol>
                <a:gridCol w="295492">
                  <a:extLst>
                    <a:ext uri="{9D8B030D-6E8A-4147-A177-3AD203B41FA5}">
                      <a16:colId xmlns:a16="http://schemas.microsoft.com/office/drawing/2014/main" val="895787419"/>
                    </a:ext>
                  </a:extLst>
                </a:gridCol>
                <a:gridCol w="295492">
                  <a:extLst>
                    <a:ext uri="{9D8B030D-6E8A-4147-A177-3AD203B41FA5}">
                      <a16:colId xmlns:a16="http://schemas.microsoft.com/office/drawing/2014/main" val="3828388578"/>
                    </a:ext>
                  </a:extLst>
                </a:gridCol>
                <a:gridCol w="295492">
                  <a:extLst>
                    <a:ext uri="{9D8B030D-6E8A-4147-A177-3AD203B41FA5}">
                      <a16:colId xmlns:a16="http://schemas.microsoft.com/office/drawing/2014/main" val="742550205"/>
                    </a:ext>
                  </a:extLst>
                </a:gridCol>
                <a:gridCol w="295492">
                  <a:extLst>
                    <a:ext uri="{9D8B030D-6E8A-4147-A177-3AD203B41FA5}">
                      <a16:colId xmlns:a16="http://schemas.microsoft.com/office/drawing/2014/main" val="1408879461"/>
                    </a:ext>
                  </a:extLst>
                </a:gridCol>
              </a:tblGrid>
              <a:tr h="251292">
                <a:tc>
                  <a:txBody>
                    <a:bodyPr/>
                    <a:lstStyle/>
                    <a:p>
                      <a:r>
                        <a:rPr lang="en-US" sz="800" b="1" i="0" dirty="0">
                          <a:solidFill>
                            <a:schemeClr val="bg1"/>
                          </a:solidFill>
                          <a:latin typeface="+mj-lt"/>
                        </a:rPr>
                        <a:t>Sales </a:t>
                      </a:r>
                      <a:r>
                        <a:rPr lang="en-US" sz="800" b="1" i="0">
                          <a:solidFill>
                            <a:schemeClr val="bg1"/>
                          </a:solidFill>
                          <a:latin typeface="+mj-lt"/>
                        </a:rPr>
                        <a:t>Vs. 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rPr dirty="0"/>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rPr dirty="0"/>
                        <a:t>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helf </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Price</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Unit</a:t>
            </a:r>
          </a:p>
          <a:p>
            <a:pPr marL="0" marR="0" lvl="0" indent="0" defTabSz="685749"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Nexa Bold" panose="00000800000000000000" pitchFamily="2" charset="0"/>
              </a:rPr>
              <a:t>(</a:t>
            </a:r>
            <a:r>
              <a:rPr lang="en-US" sz="800" dirty="0">
                <a:solidFill>
                  <a:schemeClr val="tx1"/>
                </a:solidFill>
                <a:highlight>
                  <a:srgbClr val="FFFF00"/>
                </a:highlight>
                <a:latin typeface="Nexa Bold" panose="00000800000000000000" pitchFamily="2" charset="0"/>
              </a:rPr>
              <a:t>€</a:t>
            </a:r>
            <a:r>
              <a:rPr lang="en-US" sz="800" dirty="0">
                <a:solidFill>
                  <a:schemeClr val="tx1"/>
                </a:solidFill>
                <a:latin typeface="Nexa Bold" panose="00000800000000000000" pitchFamily="2" charset="0"/>
              </a:rPr>
              <a:t>)</a:t>
            </a:r>
            <a:endPar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endParaRP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Value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ales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M)</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8/11/2025</a:t>
            </a:fld>
            <a:endParaRPr lang="en-US" sz="500"/>
          </a:p>
        </p:txBody>
      </p:sp>
    </p:spTree>
    <p:extLst>
      <p:ext uri="{BB962C8B-B14F-4D97-AF65-F5344CB8AC3E}">
        <p14:creationId xmlns:p14="http://schemas.microsoft.com/office/powerpoint/2010/main" val="72123941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r>
              <a:rPr lang="en-US" dirty="0"/>
              <a:t>Inter-size Discount  | </a:t>
            </a:r>
            <a:r>
              <a:rPr lang="en-US" dirty="0">
                <a:highlight>
                  <a:srgbClr val="FFFF00"/>
                </a:highlight>
              </a:rPr>
              <a:t>Variant</a:t>
            </a:r>
            <a:r>
              <a:rPr lang="en-US" dirty="0"/>
              <a:t> | </a:t>
            </a:r>
            <a:r>
              <a:rPr lang="en-US" dirty="0">
                <a:highlight>
                  <a:srgbClr val="FFFF00"/>
                </a:highlight>
              </a:rPr>
              <a:t>National</a:t>
            </a:r>
            <a:r>
              <a:rPr lang="en-US" dirty="0"/>
              <a:t> | P12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2800073758"/>
              </p:ext>
            </p:extLst>
          </p:nvPr>
        </p:nvGraphicFramePr>
        <p:xfrm>
          <a:off x="555229" y="4265104"/>
          <a:ext cx="7441138"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95492">
                  <a:extLst>
                    <a:ext uri="{9D8B030D-6E8A-4147-A177-3AD203B41FA5}">
                      <a16:colId xmlns:a16="http://schemas.microsoft.com/office/drawing/2014/main" val="2253286919"/>
                    </a:ext>
                  </a:extLst>
                </a:gridCol>
                <a:gridCol w="295492">
                  <a:extLst>
                    <a:ext uri="{9D8B030D-6E8A-4147-A177-3AD203B41FA5}">
                      <a16:colId xmlns:a16="http://schemas.microsoft.com/office/drawing/2014/main" val="2739285047"/>
                    </a:ext>
                  </a:extLst>
                </a:gridCol>
                <a:gridCol w="295492">
                  <a:extLst>
                    <a:ext uri="{9D8B030D-6E8A-4147-A177-3AD203B41FA5}">
                      <a16:colId xmlns:a16="http://schemas.microsoft.com/office/drawing/2014/main" val="686050863"/>
                    </a:ext>
                  </a:extLst>
                </a:gridCol>
                <a:gridCol w="295492">
                  <a:extLst>
                    <a:ext uri="{9D8B030D-6E8A-4147-A177-3AD203B41FA5}">
                      <a16:colId xmlns:a16="http://schemas.microsoft.com/office/drawing/2014/main" val="3765127706"/>
                    </a:ext>
                  </a:extLst>
                </a:gridCol>
                <a:gridCol w="295492">
                  <a:extLst>
                    <a:ext uri="{9D8B030D-6E8A-4147-A177-3AD203B41FA5}">
                      <a16:colId xmlns:a16="http://schemas.microsoft.com/office/drawing/2014/main" val="273303937"/>
                    </a:ext>
                  </a:extLst>
                </a:gridCol>
                <a:gridCol w="295492">
                  <a:extLst>
                    <a:ext uri="{9D8B030D-6E8A-4147-A177-3AD203B41FA5}">
                      <a16:colId xmlns:a16="http://schemas.microsoft.com/office/drawing/2014/main" val="1190134658"/>
                    </a:ext>
                  </a:extLst>
                </a:gridCol>
                <a:gridCol w="295492">
                  <a:extLst>
                    <a:ext uri="{9D8B030D-6E8A-4147-A177-3AD203B41FA5}">
                      <a16:colId xmlns:a16="http://schemas.microsoft.com/office/drawing/2014/main" val="1152288185"/>
                    </a:ext>
                  </a:extLst>
                </a:gridCol>
                <a:gridCol w="295492">
                  <a:extLst>
                    <a:ext uri="{9D8B030D-6E8A-4147-A177-3AD203B41FA5}">
                      <a16:colId xmlns:a16="http://schemas.microsoft.com/office/drawing/2014/main" val="1888319813"/>
                    </a:ext>
                  </a:extLst>
                </a:gridCol>
                <a:gridCol w="295492">
                  <a:extLst>
                    <a:ext uri="{9D8B030D-6E8A-4147-A177-3AD203B41FA5}">
                      <a16:colId xmlns:a16="http://schemas.microsoft.com/office/drawing/2014/main" val="3471064540"/>
                    </a:ext>
                  </a:extLst>
                </a:gridCol>
                <a:gridCol w="295492">
                  <a:extLst>
                    <a:ext uri="{9D8B030D-6E8A-4147-A177-3AD203B41FA5}">
                      <a16:colId xmlns:a16="http://schemas.microsoft.com/office/drawing/2014/main" val="670551899"/>
                    </a:ext>
                  </a:extLst>
                </a:gridCol>
                <a:gridCol w="295492">
                  <a:extLst>
                    <a:ext uri="{9D8B030D-6E8A-4147-A177-3AD203B41FA5}">
                      <a16:colId xmlns:a16="http://schemas.microsoft.com/office/drawing/2014/main" val="1100152168"/>
                    </a:ext>
                  </a:extLst>
                </a:gridCol>
                <a:gridCol w="295492">
                  <a:extLst>
                    <a:ext uri="{9D8B030D-6E8A-4147-A177-3AD203B41FA5}">
                      <a16:colId xmlns:a16="http://schemas.microsoft.com/office/drawing/2014/main" val="2165801595"/>
                    </a:ext>
                  </a:extLst>
                </a:gridCol>
                <a:gridCol w="295492">
                  <a:extLst>
                    <a:ext uri="{9D8B030D-6E8A-4147-A177-3AD203B41FA5}">
                      <a16:colId xmlns:a16="http://schemas.microsoft.com/office/drawing/2014/main" val="3981167565"/>
                    </a:ext>
                  </a:extLst>
                </a:gridCol>
                <a:gridCol w="295492">
                  <a:extLst>
                    <a:ext uri="{9D8B030D-6E8A-4147-A177-3AD203B41FA5}">
                      <a16:colId xmlns:a16="http://schemas.microsoft.com/office/drawing/2014/main" val="2740792325"/>
                    </a:ext>
                  </a:extLst>
                </a:gridCol>
                <a:gridCol w="295492">
                  <a:extLst>
                    <a:ext uri="{9D8B030D-6E8A-4147-A177-3AD203B41FA5}">
                      <a16:colId xmlns:a16="http://schemas.microsoft.com/office/drawing/2014/main" val="54782936"/>
                    </a:ext>
                  </a:extLst>
                </a:gridCol>
                <a:gridCol w="295492">
                  <a:extLst>
                    <a:ext uri="{9D8B030D-6E8A-4147-A177-3AD203B41FA5}">
                      <a16:colId xmlns:a16="http://schemas.microsoft.com/office/drawing/2014/main" val="154020430"/>
                    </a:ext>
                  </a:extLst>
                </a:gridCol>
                <a:gridCol w="295492">
                  <a:extLst>
                    <a:ext uri="{9D8B030D-6E8A-4147-A177-3AD203B41FA5}">
                      <a16:colId xmlns:a16="http://schemas.microsoft.com/office/drawing/2014/main" val="3928813835"/>
                    </a:ext>
                  </a:extLst>
                </a:gridCol>
                <a:gridCol w="295492">
                  <a:extLst>
                    <a:ext uri="{9D8B030D-6E8A-4147-A177-3AD203B41FA5}">
                      <a16:colId xmlns:a16="http://schemas.microsoft.com/office/drawing/2014/main" val="4210253042"/>
                    </a:ext>
                  </a:extLst>
                </a:gridCol>
                <a:gridCol w="295492">
                  <a:extLst>
                    <a:ext uri="{9D8B030D-6E8A-4147-A177-3AD203B41FA5}">
                      <a16:colId xmlns:a16="http://schemas.microsoft.com/office/drawing/2014/main" val="895787419"/>
                    </a:ext>
                  </a:extLst>
                </a:gridCol>
                <a:gridCol w="295492">
                  <a:extLst>
                    <a:ext uri="{9D8B030D-6E8A-4147-A177-3AD203B41FA5}">
                      <a16:colId xmlns:a16="http://schemas.microsoft.com/office/drawing/2014/main" val="3828388578"/>
                    </a:ext>
                  </a:extLst>
                </a:gridCol>
                <a:gridCol w="295492">
                  <a:extLst>
                    <a:ext uri="{9D8B030D-6E8A-4147-A177-3AD203B41FA5}">
                      <a16:colId xmlns:a16="http://schemas.microsoft.com/office/drawing/2014/main" val="742550205"/>
                    </a:ext>
                  </a:extLst>
                </a:gridCol>
                <a:gridCol w="295492">
                  <a:extLst>
                    <a:ext uri="{9D8B030D-6E8A-4147-A177-3AD203B41FA5}">
                      <a16:colId xmlns:a16="http://schemas.microsoft.com/office/drawing/2014/main" val="1408879461"/>
                    </a:ext>
                  </a:extLst>
                </a:gridCol>
              </a:tblGrid>
              <a:tr h="251292">
                <a:tc>
                  <a:txBody>
                    <a:bodyPr/>
                    <a:lstStyle/>
                    <a:p>
                      <a:r>
                        <a:rPr lang="en-US" sz="800" b="1" i="0" dirty="0">
                          <a:solidFill>
                            <a:schemeClr val="bg1"/>
                          </a:solidFill>
                          <a:latin typeface="+mj-lt"/>
                        </a:rPr>
                        <a:t>Sales </a:t>
                      </a:r>
                      <a:r>
                        <a:rPr lang="en-US" sz="800" b="1" i="0">
                          <a:solidFill>
                            <a:schemeClr val="bg1"/>
                          </a:solidFill>
                          <a:latin typeface="+mj-lt"/>
                        </a:rPr>
                        <a:t>Vs. 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rPr dirty="0"/>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rPr dirty="0"/>
                        <a:t>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helf </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Price</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Unit</a:t>
            </a:r>
          </a:p>
          <a:p>
            <a:pPr marL="0" marR="0" lvl="0" indent="0" defTabSz="685749"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Nexa Bold" panose="00000800000000000000" pitchFamily="2" charset="0"/>
              </a:rPr>
              <a:t>(</a:t>
            </a:r>
            <a:r>
              <a:rPr lang="en-US" sz="800" dirty="0">
                <a:solidFill>
                  <a:schemeClr val="tx1"/>
                </a:solidFill>
                <a:highlight>
                  <a:srgbClr val="FFFF00"/>
                </a:highlight>
                <a:latin typeface="Nexa Bold" panose="00000800000000000000" pitchFamily="2" charset="0"/>
              </a:rPr>
              <a:t>€</a:t>
            </a:r>
            <a:r>
              <a:rPr lang="en-US" sz="800" dirty="0">
                <a:solidFill>
                  <a:schemeClr val="tx1"/>
                </a:solidFill>
                <a:latin typeface="Nexa Bold" panose="00000800000000000000" pitchFamily="2" charset="0"/>
              </a:rPr>
              <a:t>)</a:t>
            </a:r>
            <a:endPar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endParaRP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Value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ales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M)</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8/11/2025</a:t>
            </a:fld>
            <a:endParaRPr lang="en-US" sz="500"/>
          </a:p>
        </p:txBody>
      </p:sp>
    </p:spTree>
    <p:extLst>
      <p:ext uri="{BB962C8B-B14F-4D97-AF65-F5344CB8AC3E}">
        <p14:creationId xmlns:p14="http://schemas.microsoft.com/office/powerpoint/2010/main" val="282103753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r>
              <a:rPr lang="en-US" dirty="0"/>
              <a:t>Inter-size Discount  | </a:t>
            </a:r>
            <a:r>
              <a:rPr lang="en-US" dirty="0">
                <a:highlight>
                  <a:srgbClr val="FFFF00"/>
                </a:highlight>
              </a:rPr>
              <a:t>Variant</a:t>
            </a:r>
            <a:r>
              <a:rPr lang="en-US" dirty="0"/>
              <a:t> | </a:t>
            </a:r>
            <a:r>
              <a:rPr lang="en-US" dirty="0">
                <a:highlight>
                  <a:srgbClr val="FFFF00"/>
                </a:highlight>
              </a:rPr>
              <a:t>National</a:t>
            </a:r>
            <a:r>
              <a:rPr lang="en-US" dirty="0"/>
              <a:t> | P12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2800073758"/>
              </p:ext>
            </p:extLst>
          </p:nvPr>
        </p:nvGraphicFramePr>
        <p:xfrm>
          <a:off x="555229" y="4265104"/>
          <a:ext cx="7441138"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95492">
                  <a:extLst>
                    <a:ext uri="{9D8B030D-6E8A-4147-A177-3AD203B41FA5}">
                      <a16:colId xmlns:a16="http://schemas.microsoft.com/office/drawing/2014/main" val="2253286919"/>
                    </a:ext>
                  </a:extLst>
                </a:gridCol>
                <a:gridCol w="295492">
                  <a:extLst>
                    <a:ext uri="{9D8B030D-6E8A-4147-A177-3AD203B41FA5}">
                      <a16:colId xmlns:a16="http://schemas.microsoft.com/office/drawing/2014/main" val="2739285047"/>
                    </a:ext>
                  </a:extLst>
                </a:gridCol>
                <a:gridCol w="295492">
                  <a:extLst>
                    <a:ext uri="{9D8B030D-6E8A-4147-A177-3AD203B41FA5}">
                      <a16:colId xmlns:a16="http://schemas.microsoft.com/office/drawing/2014/main" val="686050863"/>
                    </a:ext>
                  </a:extLst>
                </a:gridCol>
                <a:gridCol w="295492">
                  <a:extLst>
                    <a:ext uri="{9D8B030D-6E8A-4147-A177-3AD203B41FA5}">
                      <a16:colId xmlns:a16="http://schemas.microsoft.com/office/drawing/2014/main" val="3765127706"/>
                    </a:ext>
                  </a:extLst>
                </a:gridCol>
                <a:gridCol w="295492">
                  <a:extLst>
                    <a:ext uri="{9D8B030D-6E8A-4147-A177-3AD203B41FA5}">
                      <a16:colId xmlns:a16="http://schemas.microsoft.com/office/drawing/2014/main" val="273303937"/>
                    </a:ext>
                  </a:extLst>
                </a:gridCol>
                <a:gridCol w="295492">
                  <a:extLst>
                    <a:ext uri="{9D8B030D-6E8A-4147-A177-3AD203B41FA5}">
                      <a16:colId xmlns:a16="http://schemas.microsoft.com/office/drawing/2014/main" val="1190134658"/>
                    </a:ext>
                  </a:extLst>
                </a:gridCol>
                <a:gridCol w="295492">
                  <a:extLst>
                    <a:ext uri="{9D8B030D-6E8A-4147-A177-3AD203B41FA5}">
                      <a16:colId xmlns:a16="http://schemas.microsoft.com/office/drawing/2014/main" val="1152288185"/>
                    </a:ext>
                  </a:extLst>
                </a:gridCol>
                <a:gridCol w="295492">
                  <a:extLst>
                    <a:ext uri="{9D8B030D-6E8A-4147-A177-3AD203B41FA5}">
                      <a16:colId xmlns:a16="http://schemas.microsoft.com/office/drawing/2014/main" val="1888319813"/>
                    </a:ext>
                  </a:extLst>
                </a:gridCol>
                <a:gridCol w="295492">
                  <a:extLst>
                    <a:ext uri="{9D8B030D-6E8A-4147-A177-3AD203B41FA5}">
                      <a16:colId xmlns:a16="http://schemas.microsoft.com/office/drawing/2014/main" val="3471064540"/>
                    </a:ext>
                  </a:extLst>
                </a:gridCol>
                <a:gridCol w="295492">
                  <a:extLst>
                    <a:ext uri="{9D8B030D-6E8A-4147-A177-3AD203B41FA5}">
                      <a16:colId xmlns:a16="http://schemas.microsoft.com/office/drawing/2014/main" val="670551899"/>
                    </a:ext>
                  </a:extLst>
                </a:gridCol>
                <a:gridCol w="295492">
                  <a:extLst>
                    <a:ext uri="{9D8B030D-6E8A-4147-A177-3AD203B41FA5}">
                      <a16:colId xmlns:a16="http://schemas.microsoft.com/office/drawing/2014/main" val="1100152168"/>
                    </a:ext>
                  </a:extLst>
                </a:gridCol>
                <a:gridCol w="295492">
                  <a:extLst>
                    <a:ext uri="{9D8B030D-6E8A-4147-A177-3AD203B41FA5}">
                      <a16:colId xmlns:a16="http://schemas.microsoft.com/office/drawing/2014/main" val="2165801595"/>
                    </a:ext>
                  </a:extLst>
                </a:gridCol>
                <a:gridCol w="295492">
                  <a:extLst>
                    <a:ext uri="{9D8B030D-6E8A-4147-A177-3AD203B41FA5}">
                      <a16:colId xmlns:a16="http://schemas.microsoft.com/office/drawing/2014/main" val="3981167565"/>
                    </a:ext>
                  </a:extLst>
                </a:gridCol>
                <a:gridCol w="295492">
                  <a:extLst>
                    <a:ext uri="{9D8B030D-6E8A-4147-A177-3AD203B41FA5}">
                      <a16:colId xmlns:a16="http://schemas.microsoft.com/office/drawing/2014/main" val="2740792325"/>
                    </a:ext>
                  </a:extLst>
                </a:gridCol>
                <a:gridCol w="295492">
                  <a:extLst>
                    <a:ext uri="{9D8B030D-6E8A-4147-A177-3AD203B41FA5}">
                      <a16:colId xmlns:a16="http://schemas.microsoft.com/office/drawing/2014/main" val="54782936"/>
                    </a:ext>
                  </a:extLst>
                </a:gridCol>
                <a:gridCol w="295492">
                  <a:extLst>
                    <a:ext uri="{9D8B030D-6E8A-4147-A177-3AD203B41FA5}">
                      <a16:colId xmlns:a16="http://schemas.microsoft.com/office/drawing/2014/main" val="154020430"/>
                    </a:ext>
                  </a:extLst>
                </a:gridCol>
                <a:gridCol w="295492">
                  <a:extLst>
                    <a:ext uri="{9D8B030D-6E8A-4147-A177-3AD203B41FA5}">
                      <a16:colId xmlns:a16="http://schemas.microsoft.com/office/drawing/2014/main" val="3928813835"/>
                    </a:ext>
                  </a:extLst>
                </a:gridCol>
                <a:gridCol w="295492">
                  <a:extLst>
                    <a:ext uri="{9D8B030D-6E8A-4147-A177-3AD203B41FA5}">
                      <a16:colId xmlns:a16="http://schemas.microsoft.com/office/drawing/2014/main" val="4210253042"/>
                    </a:ext>
                  </a:extLst>
                </a:gridCol>
                <a:gridCol w="295492">
                  <a:extLst>
                    <a:ext uri="{9D8B030D-6E8A-4147-A177-3AD203B41FA5}">
                      <a16:colId xmlns:a16="http://schemas.microsoft.com/office/drawing/2014/main" val="895787419"/>
                    </a:ext>
                  </a:extLst>
                </a:gridCol>
                <a:gridCol w="295492">
                  <a:extLst>
                    <a:ext uri="{9D8B030D-6E8A-4147-A177-3AD203B41FA5}">
                      <a16:colId xmlns:a16="http://schemas.microsoft.com/office/drawing/2014/main" val="3828388578"/>
                    </a:ext>
                  </a:extLst>
                </a:gridCol>
                <a:gridCol w="295492">
                  <a:extLst>
                    <a:ext uri="{9D8B030D-6E8A-4147-A177-3AD203B41FA5}">
                      <a16:colId xmlns:a16="http://schemas.microsoft.com/office/drawing/2014/main" val="742550205"/>
                    </a:ext>
                  </a:extLst>
                </a:gridCol>
                <a:gridCol w="295492">
                  <a:extLst>
                    <a:ext uri="{9D8B030D-6E8A-4147-A177-3AD203B41FA5}">
                      <a16:colId xmlns:a16="http://schemas.microsoft.com/office/drawing/2014/main" val="1408879461"/>
                    </a:ext>
                  </a:extLst>
                </a:gridCol>
              </a:tblGrid>
              <a:tr h="251292">
                <a:tc>
                  <a:txBody>
                    <a:bodyPr/>
                    <a:lstStyle/>
                    <a:p>
                      <a:r>
                        <a:rPr lang="en-US" sz="800" b="1" i="0" dirty="0">
                          <a:solidFill>
                            <a:schemeClr val="bg1"/>
                          </a:solidFill>
                          <a:latin typeface="+mj-lt"/>
                        </a:rPr>
                        <a:t>Sales </a:t>
                      </a:r>
                      <a:r>
                        <a:rPr lang="en-US" sz="800" b="1" i="0">
                          <a:solidFill>
                            <a:schemeClr val="bg1"/>
                          </a:solidFill>
                          <a:latin typeface="+mj-lt"/>
                        </a:rPr>
                        <a:t>Vs. 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rPr dirty="0"/>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rPr dirty="0"/>
                        <a:t>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helf </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Price</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Unit</a:t>
            </a:r>
          </a:p>
          <a:p>
            <a:pPr marL="0" marR="0" lvl="0" indent="0" defTabSz="685749"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Nexa Bold" panose="00000800000000000000" pitchFamily="2" charset="0"/>
              </a:rPr>
              <a:t>(</a:t>
            </a:r>
            <a:r>
              <a:rPr lang="en-US" sz="800" dirty="0">
                <a:solidFill>
                  <a:schemeClr val="tx1"/>
                </a:solidFill>
                <a:highlight>
                  <a:srgbClr val="FFFF00"/>
                </a:highlight>
                <a:latin typeface="Nexa Bold" panose="00000800000000000000" pitchFamily="2" charset="0"/>
              </a:rPr>
              <a:t>€</a:t>
            </a:r>
            <a:r>
              <a:rPr lang="en-US" sz="800" dirty="0">
                <a:solidFill>
                  <a:schemeClr val="tx1"/>
                </a:solidFill>
                <a:latin typeface="Nexa Bold" panose="00000800000000000000" pitchFamily="2" charset="0"/>
              </a:rPr>
              <a:t>)</a:t>
            </a:r>
            <a:endPar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endParaRP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Value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ales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M)</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8/11/2025</a:t>
            </a:fld>
            <a:endParaRPr lang="en-US" sz="500"/>
          </a:p>
        </p:txBody>
      </p:sp>
    </p:spTree>
    <p:extLst>
      <p:ext uri="{BB962C8B-B14F-4D97-AF65-F5344CB8AC3E}">
        <p14:creationId xmlns:p14="http://schemas.microsoft.com/office/powerpoint/2010/main" val="125606718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r>
              <a:rPr lang="en-US" dirty="0"/>
              <a:t>Inter-size Discount  | </a:t>
            </a:r>
            <a:r>
              <a:rPr lang="en-US" dirty="0">
                <a:highlight>
                  <a:srgbClr val="FFFF00"/>
                </a:highlight>
              </a:rPr>
              <a:t>Variant</a:t>
            </a:r>
            <a:r>
              <a:rPr lang="en-US" dirty="0"/>
              <a:t> | </a:t>
            </a:r>
            <a:r>
              <a:rPr lang="en-US" dirty="0">
                <a:highlight>
                  <a:srgbClr val="FFFF00"/>
                </a:highlight>
              </a:rPr>
              <a:t>National</a:t>
            </a:r>
            <a:r>
              <a:rPr lang="en-US" dirty="0"/>
              <a:t> | P12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2800073758"/>
              </p:ext>
            </p:extLst>
          </p:nvPr>
        </p:nvGraphicFramePr>
        <p:xfrm>
          <a:off x="555229" y="4265104"/>
          <a:ext cx="7441138"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95492">
                  <a:extLst>
                    <a:ext uri="{9D8B030D-6E8A-4147-A177-3AD203B41FA5}">
                      <a16:colId xmlns:a16="http://schemas.microsoft.com/office/drawing/2014/main" val="2253286919"/>
                    </a:ext>
                  </a:extLst>
                </a:gridCol>
                <a:gridCol w="295492">
                  <a:extLst>
                    <a:ext uri="{9D8B030D-6E8A-4147-A177-3AD203B41FA5}">
                      <a16:colId xmlns:a16="http://schemas.microsoft.com/office/drawing/2014/main" val="2739285047"/>
                    </a:ext>
                  </a:extLst>
                </a:gridCol>
                <a:gridCol w="295492">
                  <a:extLst>
                    <a:ext uri="{9D8B030D-6E8A-4147-A177-3AD203B41FA5}">
                      <a16:colId xmlns:a16="http://schemas.microsoft.com/office/drawing/2014/main" val="686050863"/>
                    </a:ext>
                  </a:extLst>
                </a:gridCol>
                <a:gridCol w="295492">
                  <a:extLst>
                    <a:ext uri="{9D8B030D-6E8A-4147-A177-3AD203B41FA5}">
                      <a16:colId xmlns:a16="http://schemas.microsoft.com/office/drawing/2014/main" val="3765127706"/>
                    </a:ext>
                  </a:extLst>
                </a:gridCol>
                <a:gridCol w="295492">
                  <a:extLst>
                    <a:ext uri="{9D8B030D-6E8A-4147-A177-3AD203B41FA5}">
                      <a16:colId xmlns:a16="http://schemas.microsoft.com/office/drawing/2014/main" val="273303937"/>
                    </a:ext>
                  </a:extLst>
                </a:gridCol>
                <a:gridCol w="295492">
                  <a:extLst>
                    <a:ext uri="{9D8B030D-6E8A-4147-A177-3AD203B41FA5}">
                      <a16:colId xmlns:a16="http://schemas.microsoft.com/office/drawing/2014/main" val="1190134658"/>
                    </a:ext>
                  </a:extLst>
                </a:gridCol>
                <a:gridCol w="295492">
                  <a:extLst>
                    <a:ext uri="{9D8B030D-6E8A-4147-A177-3AD203B41FA5}">
                      <a16:colId xmlns:a16="http://schemas.microsoft.com/office/drawing/2014/main" val="1152288185"/>
                    </a:ext>
                  </a:extLst>
                </a:gridCol>
                <a:gridCol w="295492">
                  <a:extLst>
                    <a:ext uri="{9D8B030D-6E8A-4147-A177-3AD203B41FA5}">
                      <a16:colId xmlns:a16="http://schemas.microsoft.com/office/drawing/2014/main" val="1888319813"/>
                    </a:ext>
                  </a:extLst>
                </a:gridCol>
                <a:gridCol w="295492">
                  <a:extLst>
                    <a:ext uri="{9D8B030D-6E8A-4147-A177-3AD203B41FA5}">
                      <a16:colId xmlns:a16="http://schemas.microsoft.com/office/drawing/2014/main" val="3471064540"/>
                    </a:ext>
                  </a:extLst>
                </a:gridCol>
                <a:gridCol w="295492">
                  <a:extLst>
                    <a:ext uri="{9D8B030D-6E8A-4147-A177-3AD203B41FA5}">
                      <a16:colId xmlns:a16="http://schemas.microsoft.com/office/drawing/2014/main" val="670551899"/>
                    </a:ext>
                  </a:extLst>
                </a:gridCol>
                <a:gridCol w="295492">
                  <a:extLst>
                    <a:ext uri="{9D8B030D-6E8A-4147-A177-3AD203B41FA5}">
                      <a16:colId xmlns:a16="http://schemas.microsoft.com/office/drawing/2014/main" val="1100152168"/>
                    </a:ext>
                  </a:extLst>
                </a:gridCol>
                <a:gridCol w="295492">
                  <a:extLst>
                    <a:ext uri="{9D8B030D-6E8A-4147-A177-3AD203B41FA5}">
                      <a16:colId xmlns:a16="http://schemas.microsoft.com/office/drawing/2014/main" val="2165801595"/>
                    </a:ext>
                  </a:extLst>
                </a:gridCol>
                <a:gridCol w="295492">
                  <a:extLst>
                    <a:ext uri="{9D8B030D-6E8A-4147-A177-3AD203B41FA5}">
                      <a16:colId xmlns:a16="http://schemas.microsoft.com/office/drawing/2014/main" val="3981167565"/>
                    </a:ext>
                  </a:extLst>
                </a:gridCol>
                <a:gridCol w="295492">
                  <a:extLst>
                    <a:ext uri="{9D8B030D-6E8A-4147-A177-3AD203B41FA5}">
                      <a16:colId xmlns:a16="http://schemas.microsoft.com/office/drawing/2014/main" val="2740792325"/>
                    </a:ext>
                  </a:extLst>
                </a:gridCol>
                <a:gridCol w="295492">
                  <a:extLst>
                    <a:ext uri="{9D8B030D-6E8A-4147-A177-3AD203B41FA5}">
                      <a16:colId xmlns:a16="http://schemas.microsoft.com/office/drawing/2014/main" val="54782936"/>
                    </a:ext>
                  </a:extLst>
                </a:gridCol>
                <a:gridCol w="295492">
                  <a:extLst>
                    <a:ext uri="{9D8B030D-6E8A-4147-A177-3AD203B41FA5}">
                      <a16:colId xmlns:a16="http://schemas.microsoft.com/office/drawing/2014/main" val="154020430"/>
                    </a:ext>
                  </a:extLst>
                </a:gridCol>
                <a:gridCol w="295492">
                  <a:extLst>
                    <a:ext uri="{9D8B030D-6E8A-4147-A177-3AD203B41FA5}">
                      <a16:colId xmlns:a16="http://schemas.microsoft.com/office/drawing/2014/main" val="3928813835"/>
                    </a:ext>
                  </a:extLst>
                </a:gridCol>
                <a:gridCol w="295492">
                  <a:extLst>
                    <a:ext uri="{9D8B030D-6E8A-4147-A177-3AD203B41FA5}">
                      <a16:colId xmlns:a16="http://schemas.microsoft.com/office/drawing/2014/main" val="4210253042"/>
                    </a:ext>
                  </a:extLst>
                </a:gridCol>
                <a:gridCol w="295492">
                  <a:extLst>
                    <a:ext uri="{9D8B030D-6E8A-4147-A177-3AD203B41FA5}">
                      <a16:colId xmlns:a16="http://schemas.microsoft.com/office/drawing/2014/main" val="895787419"/>
                    </a:ext>
                  </a:extLst>
                </a:gridCol>
                <a:gridCol w="295492">
                  <a:extLst>
                    <a:ext uri="{9D8B030D-6E8A-4147-A177-3AD203B41FA5}">
                      <a16:colId xmlns:a16="http://schemas.microsoft.com/office/drawing/2014/main" val="3828388578"/>
                    </a:ext>
                  </a:extLst>
                </a:gridCol>
                <a:gridCol w="295492">
                  <a:extLst>
                    <a:ext uri="{9D8B030D-6E8A-4147-A177-3AD203B41FA5}">
                      <a16:colId xmlns:a16="http://schemas.microsoft.com/office/drawing/2014/main" val="742550205"/>
                    </a:ext>
                  </a:extLst>
                </a:gridCol>
                <a:gridCol w="295492">
                  <a:extLst>
                    <a:ext uri="{9D8B030D-6E8A-4147-A177-3AD203B41FA5}">
                      <a16:colId xmlns:a16="http://schemas.microsoft.com/office/drawing/2014/main" val="1408879461"/>
                    </a:ext>
                  </a:extLst>
                </a:gridCol>
              </a:tblGrid>
              <a:tr h="251292">
                <a:tc>
                  <a:txBody>
                    <a:bodyPr/>
                    <a:lstStyle/>
                    <a:p>
                      <a:r>
                        <a:rPr lang="en-US" sz="800" b="1" i="0" dirty="0">
                          <a:solidFill>
                            <a:schemeClr val="bg1"/>
                          </a:solidFill>
                          <a:latin typeface="+mj-lt"/>
                        </a:rPr>
                        <a:t>Sales </a:t>
                      </a:r>
                      <a:r>
                        <a:rPr lang="en-US" sz="800" b="1" i="0">
                          <a:solidFill>
                            <a:schemeClr val="bg1"/>
                          </a:solidFill>
                          <a:latin typeface="+mj-lt"/>
                        </a:rPr>
                        <a:t>Vs. 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rPr dirty="0"/>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rPr dirty="0"/>
                        <a:t>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helf </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Price</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Unit</a:t>
            </a:r>
          </a:p>
          <a:p>
            <a:pPr marL="0" marR="0" lvl="0" indent="0" defTabSz="685749"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Nexa Bold" panose="00000800000000000000" pitchFamily="2" charset="0"/>
              </a:rPr>
              <a:t>(</a:t>
            </a:r>
            <a:r>
              <a:rPr lang="en-US" sz="800" dirty="0">
                <a:solidFill>
                  <a:schemeClr val="tx1"/>
                </a:solidFill>
                <a:highlight>
                  <a:srgbClr val="FFFF00"/>
                </a:highlight>
                <a:latin typeface="Nexa Bold" panose="00000800000000000000" pitchFamily="2" charset="0"/>
              </a:rPr>
              <a:t>€</a:t>
            </a:r>
            <a:r>
              <a:rPr lang="en-US" sz="800" dirty="0">
                <a:solidFill>
                  <a:schemeClr val="tx1"/>
                </a:solidFill>
                <a:latin typeface="Nexa Bold" panose="00000800000000000000" pitchFamily="2" charset="0"/>
              </a:rPr>
              <a:t>)</a:t>
            </a:r>
            <a:endPar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endParaRP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Value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ales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M)</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8/11/2025</a:t>
            </a:fld>
            <a:endParaRPr lang="en-US" sz="500"/>
          </a:p>
        </p:txBody>
      </p:sp>
    </p:spTree>
    <p:extLst>
      <p:ext uri="{BB962C8B-B14F-4D97-AF65-F5344CB8AC3E}">
        <p14:creationId xmlns:p14="http://schemas.microsoft.com/office/powerpoint/2010/main" val="298051087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r>
              <a:rPr lang="en-US" dirty="0"/>
              <a:t>Inter-size Discount  | </a:t>
            </a:r>
            <a:r>
              <a:rPr lang="en-US" dirty="0">
                <a:highlight>
                  <a:srgbClr val="FFFF00"/>
                </a:highlight>
              </a:rPr>
              <a:t>Variant</a:t>
            </a:r>
            <a:r>
              <a:rPr lang="en-US" dirty="0"/>
              <a:t> | </a:t>
            </a:r>
            <a:r>
              <a:rPr lang="en-US" dirty="0">
                <a:highlight>
                  <a:srgbClr val="FFFF00"/>
                </a:highlight>
              </a:rPr>
              <a:t>National</a:t>
            </a:r>
            <a:r>
              <a:rPr lang="en-US" dirty="0"/>
              <a:t> | P12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2800073758"/>
              </p:ext>
            </p:extLst>
          </p:nvPr>
        </p:nvGraphicFramePr>
        <p:xfrm>
          <a:off x="555229" y="4265104"/>
          <a:ext cx="7441138"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95492">
                  <a:extLst>
                    <a:ext uri="{9D8B030D-6E8A-4147-A177-3AD203B41FA5}">
                      <a16:colId xmlns:a16="http://schemas.microsoft.com/office/drawing/2014/main" val="2253286919"/>
                    </a:ext>
                  </a:extLst>
                </a:gridCol>
                <a:gridCol w="295492">
                  <a:extLst>
                    <a:ext uri="{9D8B030D-6E8A-4147-A177-3AD203B41FA5}">
                      <a16:colId xmlns:a16="http://schemas.microsoft.com/office/drawing/2014/main" val="2739285047"/>
                    </a:ext>
                  </a:extLst>
                </a:gridCol>
                <a:gridCol w="295492">
                  <a:extLst>
                    <a:ext uri="{9D8B030D-6E8A-4147-A177-3AD203B41FA5}">
                      <a16:colId xmlns:a16="http://schemas.microsoft.com/office/drawing/2014/main" val="686050863"/>
                    </a:ext>
                  </a:extLst>
                </a:gridCol>
                <a:gridCol w="295492">
                  <a:extLst>
                    <a:ext uri="{9D8B030D-6E8A-4147-A177-3AD203B41FA5}">
                      <a16:colId xmlns:a16="http://schemas.microsoft.com/office/drawing/2014/main" val="3765127706"/>
                    </a:ext>
                  </a:extLst>
                </a:gridCol>
                <a:gridCol w="295492">
                  <a:extLst>
                    <a:ext uri="{9D8B030D-6E8A-4147-A177-3AD203B41FA5}">
                      <a16:colId xmlns:a16="http://schemas.microsoft.com/office/drawing/2014/main" val="273303937"/>
                    </a:ext>
                  </a:extLst>
                </a:gridCol>
                <a:gridCol w="295492">
                  <a:extLst>
                    <a:ext uri="{9D8B030D-6E8A-4147-A177-3AD203B41FA5}">
                      <a16:colId xmlns:a16="http://schemas.microsoft.com/office/drawing/2014/main" val="1190134658"/>
                    </a:ext>
                  </a:extLst>
                </a:gridCol>
                <a:gridCol w="295492">
                  <a:extLst>
                    <a:ext uri="{9D8B030D-6E8A-4147-A177-3AD203B41FA5}">
                      <a16:colId xmlns:a16="http://schemas.microsoft.com/office/drawing/2014/main" val="1152288185"/>
                    </a:ext>
                  </a:extLst>
                </a:gridCol>
                <a:gridCol w="295492">
                  <a:extLst>
                    <a:ext uri="{9D8B030D-6E8A-4147-A177-3AD203B41FA5}">
                      <a16:colId xmlns:a16="http://schemas.microsoft.com/office/drawing/2014/main" val="1888319813"/>
                    </a:ext>
                  </a:extLst>
                </a:gridCol>
                <a:gridCol w="295492">
                  <a:extLst>
                    <a:ext uri="{9D8B030D-6E8A-4147-A177-3AD203B41FA5}">
                      <a16:colId xmlns:a16="http://schemas.microsoft.com/office/drawing/2014/main" val="3471064540"/>
                    </a:ext>
                  </a:extLst>
                </a:gridCol>
                <a:gridCol w="295492">
                  <a:extLst>
                    <a:ext uri="{9D8B030D-6E8A-4147-A177-3AD203B41FA5}">
                      <a16:colId xmlns:a16="http://schemas.microsoft.com/office/drawing/2014/main" val="670551899"/>
                    </a:ext>
                  </a:extLst>
                </a:gridCol>
                <a:gridCol w="295492">
                  <a:extLst>
                    <a:ext uri="{9D8B030D-6E8A-4147-A177-3AD203B41FA5}">
                      <a16:colId xmlns:a16="http://schemas.microsoft.com/office/drawing/2014/main" val="1100152168"/>
                    </a:ext>
                  </a:extLst>
                </a:gridCol>
                <a:gridCol w="295492">
                  <a:extLst>
                    <a:ext uri="{9D8B030D-6E8A-4147-A177-3AD203B41FA5}">
                      <a16:colId xmlns:a16="http://schemas.microsoft.com/office/drawing/2014/main" val="2165801595"/>
                    </a:ext>
                  </a:extLst>
                </a:gridCol>
                <a:gridCol w="295492">
                  <a:extLst>
                    <a:ext uri="{9D8B030D-6E8A-4147-A177-3AD203B41FA5}">
                      <a16:colId xmlns:a16="http://schemas.microsoft.com/office/drawing/2014/main" val="3981167565"/>
                    </a:ext>
                  </a:extLst>
                </a:gridCol>
                <a:gridCol w="295492">
                  <a:extLst>
                    <a:ext uri="{9D8B030D-6E8A-4147-A177-3AD203B41FA5}">
                      <a16:colId xmlns:a16="http://schemas.microsoft.com/office/drawing/2014/main" val="2740792325"/>
                    </a:ext>
                  </a:extLst>
                </a:gridCol>
                <a:gridCol w="295492">
                  <a:extLst>
                    <a:ext uri="{9D8B030D-6E8A-4147-A177-3AD203B41FA5}">
                      <a16:colId xmlns:a16="http://schemas.microsoft.com/office/drawing/2014/main" val="54782936"/>
                    </a:ext>
                  </a:extLst>
                </a:gridCol>
                <a:gridCol w="295492">
                  <a:extLst>
                    <a:ext uri="{9D8B030D-6E8A-4147-A177-3AD203B41FA5}">
                      <a16:colId xmlns:a16="http://schemas.microsoft.com/office/drawing/2014/main" val="154020430"/>
                    </a:ext>
                  </a:extLst>
                </a:gridCol>
                <a:gridCol w="295492">
                  <a:extLst>
                    <a:ext uri="{9D8B030D-6E8A-4147-A177-3AD203B41FA5}">
                      <a16:colId xmlns:a16="http://schemas.microsoft.com/office/drawing/2014/main" val="3928813835"/>
                    </a:ext>
                  </a:extLst>
                </a:gridCol>
                <a:gridCol w="295492">
                  <a:extLst>
                    <a:ext uri="{9D8B030D-6E8A-4147-A177-3AD203B41FA5}">
                      <a16:colId xmlns:a16="http://schemas.microsoft.com/office/drawing/2014/main" val="4210253042"/>
                    </a:ext>
                  </a:extLst>
                </a:gridCol>
                <a:gridCol w="295492">
                  <a:extLst>
                    <a:ext uri="{9D8B030D-6E8A-4147-A177-3AD203B41FA5}">
                      <a16:colId xmlns:a16="http://schemas.microsoft.com/office/drawing/2014/main" val="895787419"/>
                    </a:ext>
                  </a:extLst>
                </a:gridCol>
                <a:gridCol w="295492">
                  <a:extLst>
                    <a:ext uri="{9D8B030D-6E8A-4147-A177-3AD203B41FA5}">
                      <a16:colId xmlns:a16="http://schemas.microsoft.com/office/drawing/2014/main" val="3828388578"/>
                    </a:ext>
                  </a:extLst>
                </a:gridCol>
                <a:gridCol w="295492">
                  <a:extLst>
                    <a:ext uri="{9D8B030D-6E8A-4147-A177-3AD203B41FA5}">
                      <a16:colId xmlns:a16="http://schemas.microsoft.com/office/drawing/2014/main" val="742550205"/>
                    </a:ext>
                  </a:extLst>
                </a:gridCol>
                <a:gridCol w="295492">
                  <a:extLst>
                    <a:ext uri="{9D8B030D-6E8A-4147-A177-3AD203B41FA5}">
                      <a16:colId xmlns:a16="http://schemas.microsoft.com/office/drawing/2014/main" val="1408879461"/>
                    </a:ext>
                  </a:extLst>
                </a:gridCol>
              </a:tblGrid>
              <a:tr h="251292">
                <a:tc>
                  <a:txBody>
                    <a:bodyPr/>
                    <a:lstStyle/>
                    <a:p>
                      <a:r>
                        <a:rPr lang="en-US" sz="800" b="1" i="0" dirty="0">
                          <a:solidFill>
                            <a:schemeClr val="bg1"/>
                          </a:solidFill>
                          <a:latin typeface="+mj-lt"/>
                        </a:rPr>
                        <a:t>Sales </a:t>
                      </a:r>
                      <a:r>
                        <a:rPr lang="en-US" sz="800" b="1" i="0">
                          <a:solidFill>
                            <a:schemeClr val="bg1"/>
                          </a:solidFill>
                          <a:latin typeface="+mj-lt"/>
                        </a:rPr>
                        <a:t>Vs. 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rPr dirty="0"/>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rPr dirty="0"/>
                        <a:t>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helf </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Price</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Unit</a:t>
            </a:r>
          </a:p>
          <a:p>
            <a:pPr marL="0" marR="0" lvl="0" indent="0" defTabSz="685749"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Nexa Bold" panose="00000800000000000000" pitchFamily="2" charset="0"/>
              </a:rPr>
              <a:t>(</a:t>
            </a:r>
            <a:r>
              <a:rPr lang="en-US" sz="800" dirty="0">
                <a:solidFill>
                  <a:schemeClr val="tx1"/>
                </a:solidFill>
                <a:highlight>
                  <a:srgbClr val="FFFF00"/>
                </a:highlight>
                <a:latin typeface="Nexa Bold" panose="00000800000000000000" pitchFamily="2" charset="0"/>
              </a:rPr>
              <a:t>€</a:t>
            </a:r>
            <a:r>
              <a:rPr lang="en-US" sz="800" dirty="0">
                <a:solidFill>
                  <a:schemeClr val="tx1"/>
                </a:solidFill>
                <a:latin typeface="Nexa Bold" panose="00000800000000000000" pitchFamily="2" charset="0"/>
              </a:rPr>
              <a:t>)</a:t>
            </a:r>
            <a:endPar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endParaRP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Value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ales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M)</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8/11/2025</a:t>
            </a:fld>
            <a:endParaRPr lang="en-US" sz="500"/>
          </a:p>
        </p:txBody>
      </p:sp>
    </p:spTree>
    <p:extLst>
      <p:ext uri="{BB962C8B-B14F-4D97-AF65-F5344CB8AC3E}">
        <p14:creationId xmlns:p14="http://schemas.microsoft.com/office/powerpoint/2010/main" val="291996529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r>
              <a:rPr lang="en-US" dirty="0"/>
              <a:t>Inter-size Discount  | </a:t>
            </a:r>
            <a:r>
              <a:rPr lang="en-US" dirty="0">
                <a:highlight>
                  <a:srgbClr val="FFFF00"/>
                </a:highlight>
              </a:rPr>
              <a:t>Variant</a:t>
            </a:r>
            <a:r>
              <a:rPr lang="en-US" dirty="0"/>
              <a:t> | </a:t>
            </a:r>
            <a:r>
              <a:rPr lang="en-US" dirty="0">
                <a:highlight>
                  <a:srgbClr val="FFFF00"/>
                </a:highlight>
              </a:rPr>
              <a:t>National</a:t>
            </a:r>
            <a:r>
              <a:rPr lang="en-US" dirty="0"/>
              <a:t> | P12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2800073758"/>
              </p:ext>
            </p:extLst>
          </p:nvPr>
        </p:nvGraphicFramePr>
        <p:xfrm>
          <a:off x="555229" y="4265104"/>
          <a:ext cx="7441138"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95492">
                  <a:extLst>
                    <a:ext uri="{9D8B030D-6E8A-4147-A177-3AD203B41FA5}">
                      <a16:colId xmlns:a16="http://schemas.microsoft.com/office/drawing/2014/main" val="2253286919"/>
                    </a:ext>
                  </a:extLst>
                </a:gridCol>
                <a:gridCol w="295492">
                  <a:extLst>
                    <a:ext uri="{9D8B030D-6E8A-4147-A177-3AD203B41FA5}">
                      <a16:colId xmlns:a16="http://schemas.microsoft.com/office/drawing/2014/main" val="2739285047"/>
                    </a:ext>
                  </a:extLst>
                </a:gridCol>
                <a:gridCol w="295492">
                  <a:extLst>
                    <a:ext uri="{9D8B030D-6E8A-4147-A177-3AD203B41FA5}">
                      <a16:colId xmlns:a16="http://schemas.microsoft.com/office/drawing/2014/main" val="686050863"/>
                    </a:ext>
                  </a:extLst>
                </a:gridCol>
                <a:gridCol w="295492">
                  <a:extLst>
                    <a:ext uri="{9D8B030D-6E8A-4147-A177-3AD203B41FA5}">
                      <a16:colId xmlns:a16="http://schemas.microsoft.com/office/drawing/2014/main" val="3765127706"/>
                    </a:ext>
                  </a:extLst>
                </a:gridCol>
                <a:gridCol w="295492">
                  <a:extLst>
                    <a:ext uri="{9D8B030D-6E8A-4147-A177-3AD203B41FA5}">
                      <a16:colId xmlns:a16="http://schemas.microsoft.com/office/drawing/2014/main" val="273303937"/>
                    </a:ext>
                  </a:extLst>
                </a:gridCol>
                <a:gridCol w="295492">
                  <a:extLst>
                    <a:ext uri="{9D8B030D-6E8A-4147-A177-3AD203B41FA5}">
                      <a16:colId xmlns:a16="http://schemas.microsoft.com/office/drawing/2014/main" val="1190134658"/>
                    </a:ext>
                  </a:extLst>
                </a:gridCol>
                <a:gridCol w="295492">
                  <a:extLst>
                    <a:ext uri="{9D8B030D-6E8A-4147-A177-3AD203B41FA5}">
                      <a16:colId xmlns:a16="http://schemas.microsoft.com/office/drawing/2014/main" val="1152288185"/>
                    </a:ext>
                  </a:extLst>
                </a:gridCol>
                <a:gridCol w="295492">
                  <a:extLst>
                    <a:ext uri="{9D8B030D-6E8A-4147-A177-3AD203B41FA5}">
                      <a16:colId xmlns:a16="http://schemas.microsoft.com/office/drawing/2014/main" val="1888319813"/>
                    </a:ext>
                  </a:extLst>
                </a:gridCol>
                <a:gridCol w="295492">
                  <a:extLst>
                    <a:ext uri="{9D8B030D-6E8A-4147-A177-3AD203B41FA5}">
                      <a16:colId xmlns:a16="http://schemas.microsoft.com/office/drawing/2014/main" val="3471064540"/>
                    </a:ext>
                  </a:extLst>
                </a:gridCol>
                <a:gridCol w="295492">
                  <a:extLst>
                    <a:ext uri="{9D8B030D-6E8A-4147-A177-3AD203B41FA5}">
                      <a16:colId xmlns:a16="http://schemas.microsoft.com/office/drawing/2014/main" val="670551899"/>
                    </a:ext>
                  </a:extLst>
                </a:gridCol>
                <a:gridCol w="295492">
                  <a:extLst>
                    <a:ext uri="{9D8B030D-6E8A-4147-A177-3AD203B41FA5}">
                      <a16:colId xmlns:a16="http://schemas.microsoft.com/office/drawing/2014/main" val="1100152168"/>
                    </a:ext>
                  </a:extLst>
                </a:gridCol>
                <a:gridCol w="295492">
                  <a:extLst>
                    <a:ext uri="{9D8B030D-6E8A-4147-A177-3AD203B41FA5}">
                      <a16:colId xmlns:a16="http://schemas.microsoft.com/office/drawing/2014/main" val="2165801595"/>
                    </a:ext>
                  </a:extLst>
                </a:gridCol>
                <a:gridCol w="295492">
                  <a:extLst>
                    <a:ext uri="{9D8B030D-6E8A-4147-A177-3AD203B41FA5}">
                      <a16:colId xmlns:a16="http://schemas.microsoft.com/office/drawing/2014/main" val="3981167565"/>
                    </a:ext>
                  </a:extLst>
                </a:gridCol>
                <a:gridCol w="295492">
                  <a:extLst>
                    <a:ext uri="{9D8B030D-6E8A-4147-A177-3AD203B41FA5}">
                      <a16:colId xmlns:a16="http://schemas.microsoft.com/office/drawing/2014/main" val="2740792325"/>
                    </a:ext>
                  </a:extLst>
                </a:gridCol>
                <a:gridCol w="295492">
                  <a:extLst>
                    <a:ext uri="{9D8B030D-6E8A-4147-A177-3AD203B41FA5}">
                      <a16:colId xmlns:a16="http://schemas.microsoft.com/office/drawing/2014/main" val="54782936"/>
                    </a:ext>
                  </a:extLst>
                </a:gridCol>
                <a:gridCol w="295492">
                  <a:extLst>
                    <a:ext uri="{9D8B030D-6E8A-4147-A177-3AD203B41FA5}">
                      <a16:colId xmlns:a16="http://schemas.microsoft.com/office/drawing/2014/main" val="154020430"/>
                    </a:ext>
                  </a:extLst>
                </a:gridCol>
                <a:gridCol w="295492">
                  <a:extLst>
                    <a:ext uri="{9D8B030D-6E8A-4147-A177-3AD203B41FA5}">
                      <a16:colId xmlns:a16="http://schemas.microsoft.com/office/drawing/2014/main" val="3928813835"/>
                    </a:ext>
                  </a:extLst>
                </a:gridCol>
                <a:gridCol w="295492">
                  <a:extLst>
                    <a:ext uri="{9D8B030D-6E8A-4147-A177-3AD203B41FA5}">
                      <a16:colId xmlns:a16="http://schemas.microsoft.com/office/drawing/2014/main" val="4210253042"/>
                    </a:ext>
                  </a:extLst>
                </a:gridCol>
                <a:gridCol w="295492">
                  <a:extLst>
                    <a:ext uri="{9D8B030D-6E8A-4147-A177-3AD203B41FA5}">
                      <a16:colId xmlns:a16="http://schemas.microsoft.com/office/drawing/2014/main" val="895787419"/>
                    </a:ext>
                  </a:extLst>
                </a:gridCol>
                <a:gridCol w="295492">
                  <a:extLst>
                    <a:ext uri="{9D8B030D-6E8A-4147-A177-3AD203B41FA5}">
                      <a16:colId xmlns:a16="http://schemas.microsoft.com/office/drawing/2014/main" val="3828388578"/>
                    </a:ext>
                  </a:extLst>
                </a:gridCol>
                <a:gridCol w="295492">
                  <a:extLst>
                    <a:ext uri="{9D8B030D-6E8A-4147-A177-3AD203B41FA5}">
                      <a16:colId xmlns:a16="http://schemas.microsoft.com/office/drawing/2014/main" val="742550205"/>
                    </a:ext>
                  </a:extLst>
                </a:gridCol>
                <a:gridCol w="295492">
                  <a:extLst>
                    <a:ext uri="{9D8B030D-6E8A-4147-A177-3AD203B41FA5}">
                      <a16:colId xmlns:a16="http://schemas.microsoft.com/office/drawing/2014/main" val="1408879461"/>
                    </a:ext>
                  </a:extLst>
                </a:gridCol>
              </a:tblGrid>
              <a:tr h="251292">
                <a:tc>
                  <a:txBody>
                    <a:bodyPr/>
                    <a:lstStyle/>
                    <a:p>
                      <a:r>
                        <a:rPr lang="en-US" sz="800" b="1" i="0" dirty="0">
                          <a:solidFill>
                            <a:schemeClr val="bg1"/>
                          </a:solidFill>
                          <a:latin typeface="+mj-lt"/>
                        </a:rPr>
                        <a:t>Sales </a:t>
                      </a:r>
                      <a:r>
                        <a:rPr lang="en-US" sz="800" b="1" i="0">
                          <a:solidFill>
                            <a:schemeClr val="bg1"/>
                          </a:solidFill>
                          <a:latin typeface="+mj-lt"/>
                        </a:rPr>
                        <a:t>Vs. 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rPr dirty="0"/>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rPr dirty="0"/>
                        <a:t>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helf </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Price</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Unit</a:t>
            </a:r>
          </a:p>
          <a:p>
            <a:pPr marL="0" marR="0" lvl="0" indent="0" defTabSz="685749"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Nexa Bold" panose="00000800000000000000" pitchFamily="2" charset="0"/>
              </a:rPr>
              <a:t>(</a:t>
            </a:r>
            <a:r>
              <a:rPr lang="en-US" sz="800" dirty="0">
                <a:solidFill>
                  <a:schemeClr val="tx1"/>
                </a:solidFill>
                <a:highlight>
                  <a:srgbClr val="FFFF00"/>
                </a:highlight>
                <a:latin typeface="Nexa Bold" panose="00000800000000000000" pitchFamily="2" charset="0"/>
              </a:rPr>
              <a:t>€</a:t>
            </a:r>
            <a:r>
              <a:rPr lang="en-US" sz="800" dirty="0">
                <a:solidFill>
                  <a:schemeClr val="tx1"/>
                </a:solidFill>
                <a:latin typeface="Nexa Bold" panose="00000800000000000000" pitchFamily="2" charset="0"/>
              </a:rPr>
              <a:t>)</a:t>
            </a:r>
            <a:endPar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endParaRP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Value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ales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M)</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8/11/2025</a:t>
            </a:fld>
            <a:endParaRPr lang="en-US" sz="500"/>
          </a:p>
        </p:txBody>
      </p:sp>
    </p:spTree>
    <p:extLst>
      <p:ext uri="{BB962C8B-B14F-4D97-AF65-F5344CB8AC3E}">
        <p14:creationId xmlns:p14="http://schemas.microsoft.com/office/powerpoint/2010/main" val="30789780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r>
              <a:rPr lang="en-US" dirty="0"/>
              <a:t>Inter-size Discount  | </a:t>
            </a:r>
            <a:r>
              <a:rPr lang="en-US" dirty="0">
                <a:highlight>
                  <a:srgbClr val="FFFF00"/>
                </a:highlight>
              </a:rPr>
              <a:t>Variant</a:t>
            </a:r>
            <a:r>
              <a:rPr lang="en-US" dirty="0"/>
              <a:t> | </a:t>
            </a:r>
            <a:r>
              <a:rPr lang="en-US" dirty="0">
                <a:highlight>
                  <a:srgbClr val="FFFF00"/>
                </a:highlight>
              </a:rPr>
              <a:t>National</a:t>
            </a:r>
            <a:r>
              <a:rPr lang="en-US" dirty="0"/>
              <a:t> | P12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2800073758"/>
              </p:ext>
            </p:extLst>
          </p:nvPr>
        </p:nvGraphicFramePr>
        <p:xfrm>
          <a:off x="555229" y="4265104"/>
          <a:ext cx="7441138"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95492">
                  <a:extLst>
                    <a:ext uri="{9D8B030D-6E8A-4147-A177-3AD203B41FA5}">
                      <a16:colId xmlns:a16="http://schemas.microsoft.com/office/drawing/2014/main" val="2253286919"/>
                    </a:ext>
                  </a:extLst>
                </a:gridCol>
                <a:gridCol w="295492">
                  <a:extLst>
                    <a:ext uri="{9D8B030D-6E8A-4147-A177-3AD203B41FA5}">
                      <a16:colId xmlns:a16="http://schemas.microsoft.com/office/drawing/2014/main" val="2739285047"/>
                    </a:ext>
                  </a:extLst>
                </a:gridCol>
                <a:gridCol w="295492">
                  <a:extLst>
                    <a:ext uri="{9D8B030D-6E8A-4147-A177-3AD203B41FA5}">
                      <a16:colId xmlns:a16="http://schemas.microsoft.com/office/drawing/2014/main" val="686050863"/>
                    </a:ext>
                  </a:extLst>
                </a:gridCol>
                <a:gridCol w="295492">
                  <a:extLst>
                    <a:ext uri="{9D8B030D-6E8A-4147-A177-3AD203B41FA5}">
                      <a16:colId xmlns:a16="http://schemas.microsoft.com/office/drawing/2014/main" val="3765127706"/>
                    </a:ext>
                  </a:extLst>
                </a:gridCol>
                <a:gridCol w="295492">
                  <a:extLst>
                    <a:ext uri="{9D8B030D-6E8A-4147-A177-3AD203B41FA5}">
                      <a16:colId xmlns:a16="http://schemas.microsoft.com/office/drawing/2014/main" val="273303937"/>
                    </a:ext>
                  </a:extLst>
                </a:gridCol>
                <a:gridCol w="295492">
                  <a:extLst>
                    <a:ext uri="{9D8B030D-6E8A-4147-A177-3AD203B41FA5}">
                      <a16:colId xmlns:a16="http://schemas.microsoft.com/office/drawing/2014/main" val="1190134658"/>
                    </a:ext>
                  </a:extLst>
                </a:gridCol>
                <a:gridCol w="295492">
                  <a:extLst>
                    <a:ext uri="{9D8B030D-6E8A-4147-A177-3AD203B41FA5}">
                      <a16:colId xmlns:a16="http://schemas.microsoft.com/office/drawing/2014/main" val="1152288185"/>
                    </a:ext>
                  </a:extLst>
                </a:gridCol>
                <a:gridCol w="295492">
                  <a:extLst>
                    <a:ext uri="{9D8B030D-6E8A-4147-A177-3AD203B41FA5}">
                      <a16:colId xmlns:a16="http://schemas.microsoft.com/office/drawing/2014/main" val="1888319813"/>
                    </a:ext>
                  </a:extLst>
                </a:gridCol>
                <a:gridCol w="295492">
                  <a:extLst>
                    <a:ext uri="{9D8B030D-6E8A-4147-A177-3AD203B41FA5}">
                      <a16:colId xmlns:a16="http://schemas.microsoft.com/office/drawing/2014/main" val="3471064540"/>
                    </a:ext>
                  </a:extLst>
                </a:gridCol>
                <a:gridCol w="295492">
                  <a:extLst>
                    <a:ext uri="{9D8B030D-6E8A-4147-A177-3AD203B41FA5}">
                      <a16:colId xmlns:a16="http://schemas.microsoft.com/office/drawing/2014/main" val="670551899"/>
                    </a:ext>
                  </a:extLst>
                </a:gridCol>
                <a:gridCol w="295492">
                  <a:extLst>
                    <a:ext uri="{9D8B030D-6E8A-4147-A177-3AD203B41FA5}">
                      <a16:colId xmlns:a16="http://schemas.microsoft.com/office/drawing/2014/main" val="1100152168"/>
                    </a:ext>
                  </a:extLst>
                </a:gridCol>
                <a:gridCol w="295492">
                  <a:extLst>
                    <a:ext uri="{9D8B030D-6E8A-4147-A177-3AD203B41FA5}">
                      <a16:colId xmlns:a16="http://schemas.microsoft.com/office/drawing/2014/main" val="2165801595"/>
                    </a:ext>
                  </a:extLst>
                </a:gridCol>
                <a:gridCol w="295492">
                  <a:extLst>
                    <a:ext uri="{9D8B030D-6E8A-4147-A177-3AD203B41FA5}">
                      <a16:colId xmlns:a16="http://schemas.microsoft.com/office/drawing/2014/main" val="3981167565"/>
                    </a:ext>
                  </a:extLst>
                </a:gridCol>
                <a:gridCol w="295492">
                  <a:extLst>
                    <a:ext uri="{9D8B030D-6E8A-4147-A177-3AD203B41FA5}">
                      <a16:colId xmlns:a16="http://schemas.microsoft.com/office/drawing/2014/main" val="2740792325"/>
                    </a:ext>
                  </a:extLst>
                </a:gridCol>
                <a:gridCol w="295492">
                  <a:extLst>
                    <a:ext uri="{9D8B030D-6E8A-4147-A177-3AD203B41FA5}">
                      <a16:colId xmlns:a16="http://schemas.microsoft.com/office/drawing/2014/main" val="54782936"/>
                    </a:ext>
                  </a:extLst>
                </a:gridCol>
                <a:gridCol w="295492">
                  <a:extLst>
                    <a:ext uri="{9D8B030D-6E8A-4147-A177-3AD203B41FA5}">
                      <a16:colId xmlns:a16="http://schemas.microsoft.com/office/drawing/2014/main" val="154020430"/>
                    </a:ext>
                  </a:extLst>
                </a:gridCol>
                <a:gridCol w="295492">
                  <a:extLst>
                    <a:ext uri="{9D8B030D-6E8A-4147-A177-3AD203B41FA5}">
                      <a16:colId xmlns:a16="http://schemas.microsoft.com/office/drawing/2014/main" val="3928813835"/>
                    </a:ext>
                  </a:extLst>
                </a:gridCol>
                <a:gridCol w="295492">
                  <a:extLst>
                    <a:ext uri="{9D8B030D-6E8A-4147-A177-3AD203B41FA5}">
                      <a16:colId xmlns:a16="http://schemas.microsoft.com/office/drawing/2014/main" val="4210253042"/>
                    </a:ext>
                  </a:extLst>
                </a:gridCol>
                <a:gridCol w="295492">
                  <a:extLst>
                    <a:ext uri="{9D8B030D-6E8A-4147-A177-3AD203B41FA5}">
                      <a16:colId xmlns:a16="http://schemas.microsoft.com/office/drawing/2014/main" val="895787419"/>
                    </a:ext>
                  </a:extLst>
                </a:gridCol>
                <a:gridCol w="295492">
                  <a:extLst>
                    <a:ext uri="{9D8B030D-6E8A-4147-A177-3AD203B41FA5}">
                      <a16:colId xmlns:a16="http://schemas.microsoft.com/office/drawing/2014/main" val="3828388578"/>
                    </a:ext>
                  </a:extLst>
                </a:gridCol>
                <a:gridCol w="295492">
                  <a:extLst>
                    <a:ext uri="{9D8B030D-6E8A-4147-A177-3AD203B41FA5}">
                      <a16:colId xmlns:a16="http://schemas.microsoft.com/office/drawing/2014/main" val="742550205"/>
                    </a:ext>
                  </a:extLst>
                </a:gridCol>
                <a:gridCol w="295492">
                  <a:extLst>
                    <a:ext uri="{9D8B030D-6E8A-4147-A177-3AD203B41FA5}">
                      <a16:colId xmlns:a16="http://schemas.microsoft.com/office/drawing/2014/main" val="1408879461"/>
                    </a:ext>
                  </a:extLst>
                </a:gridCol>
              </a:tblGrid>
              <a:tr h="251292">
                <a:tc>
                  <a:txBody>
                    <a:bodyPr/>
                    <a:lstStyle/>
                    <a:p>
                      <a:r>
                        <a:rPr lang="en-US" sz="800" b="1" i="0" dirty="0">
                          <a:solidFill>
                            <a:schemeClr val="bg1"/>
                          </a:solidFill>
                          <a:latin typeface="+mj-lt"/>
                        </a:rPr>
                        <a:t>Sales </a:t>
                      </a:r>
                      <a:r>
                        <a:rPr lang="en-US" sz="800" b="1" i="0">
                          <a:solidFill>
                            <a:schemeClr val="bg1"/>
                          </a:solidFill>
                          <a:latin typeface="+mj-lt"/>
                        </a:rPr>
                        <a:t>Vs. 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rPr dirty="0"/>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rPr dirty="0"/>
                        <a:t>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helf </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Price</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Unit</a:t>
            </a:r>
          </a:p>
          <a:p>
            <a:pPr marL="0" marR="0" lvl="0" indent="0" defTabSz="685749"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Nexa Bold" panose="00000800000000000000" pitchFamily="2" charset="0"/>
              </a:rPr>
              <a:t>(</a:t>
            </a:r>
            <a:r>
              <a:rPr lang="en-US" sz="800" dirty="0">
                <a:solidFill>
                  <a:schemeClr val="tx1"/>
                </a:solidFill>
                <a:highlight>
                  <a:srgbClr val="FFFF00"/>
                </a:highlight>
                <a:latin typeface="Nexa Bold" panose="00000800000000000000" pitchFamily="2" charset="0"/>
              </a:rPr>
              <a:t>€</a:t>
            </a:r>
            <a:r>
              <a:rPr lang="en-US" sz="800" dirty="0">
                <a:solidFill>
                  <a:schemeClr val="tx1"/>
                </a:solidFill>
                <a:latin typeface="Nexa Bold" panose="00000800000000000000" pitchFamily="2" charset="0"/>
              </a:rPr>
              <a:t>)</a:t>
            </a:r>
            <a:endPar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endParaRP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Value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ales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M)</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8/11/2025</a:t>
            </a:fld>
            <a:endParaRPr lang="en-US" sz="500"/>
          </a:p>
        </p:txBody>
      </p:sp>
    </p:spTree>
    <p:extLst>
      <p:ext uri="{BB962C8B-B14F-4D97-AF65-F5344CB8AC3E}">
        <p14:creationId xmlns:p14="http://schemas.microsoft.com/office/powerpoint/2010/main" val="68373905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r>
              <a:rPr lang="en-US" dirty="0"/>
              <a:t>Inter-size Discount  | </a:t>
            </a:r>
            <a:r>
              <a:rPr lang="en-US" dirty="0">
                <a:highlight>
                  <a:srgbClr val="FFFF00"/>
                </a:highlight>
              </a:rPr>
              <a:t>Variant</a:t>
            </a:r>
            <a:r>
              <a:rPr lang="en-US" dirty="0"/>
              <a:t> | </a:t>
            </a:r>
            <a:r>
              <a:rPr lang="en-US" dirty="0">
                <a:highlight>
                  <a:srgbClr val="FFFF00"/>
                </a:highlight>
              </a:rPr>
              <a:t>National</a:t>
            </a:r>
            <a:r>
              <a:rPr lang="en-US" dirty="0"/>
              <a:t> | P12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2800073758"/>
              </p:ext>
            </p:extLst>
          </p:nvPr>
        </p:nvGraphicFramePr>
        <p:xfrm>
          <a:off x="555229" y="4265104"/>
          <a:ext cx="7441138"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95492">
                  <a:extLst>
                    <a:ext uri="{9D8B030D-6E8A-4147-A177-3AD203B41FA5}">
                      <a16:colId xmlns:a16="http://schemas.microsoft.com/office/drawing/2014/main" val="2253286919"/>
                    </a:ext>
                  </a:extLst>
                </a:gridCol>
                <a:gridCol w="295492">
                  <a:extLst>
                    <a:ext uri="{9D8B030D-6E8A-4147-A177-3AD203B41FA5}">
                      <a16:colId xmlns:a16="http://schemas.microsoft.com/office/drawing/2014/main" val="2739285047"/>
                    </a:ext>
                  </a:extLst>
                </a:gridCol>
                <a:gridCol w="295492">
                  <a:extLst>
                    <a:ext uri="{9D8B030D-6E8A-4147-A177-3AD203B41FA5}">
                      <a16:colId xmlns:a16="http://schemas.microsoft.com/office/drawing/2014/main" val="686050863"/>
                    </a:ext>
                  </a:extLst>
                </a:gridCol>
                <a:gridCol w="295492">
                  <a:extLst>
                    <a:ext uri="{9D8B030D-6E8A-4147-A177-3AD203B41FA5}">
                      <a16:colId xmlns:a16="http://schemas.microsoft.com/office/drawing/2014/main" val="3765127706"/>
                    </a:ext>
                  </a:extLst>
                </a:gridCol>
                <a:gridCol w="295492">
                  <a:extLst>
                    <a:ext uri="{9D8B030D-6E8A-4147-A177-3AD203B41FA5}">
                      <a16:colId xmlns:a16="http://schemas.microsoft.com/office/drawing/2014/main" val="273303937"/>
                    </a:ext>
                  </a:extLst>
                </a:gridCol>
                <a:gridCol w="295492">
                  <a:extLst>
                    <a:ext uri="{9D8B030D-6E8A-4147-A177-3AD203B41FA5}">
                      <a16:colId xmlns:a16="http://schemas.microsoft.com/office/drawing/2014/main" val="1190134658"/>
                    </a:ext>
                  </a:extLst>
                </a:gridCol>
                <a:gridCol w="295492">
                  <a:extLst>
                    <a:ext uri="{9D8B030D-6E8A-4147-A177-3AD203B41FA5}">
                      <a16:colId xmlns:a16="http://schemas.microsoft.com/office/drawing/2014/main" val="1152288185"/>
                    </a:ext>
                  </a:extLst>
                </a:gridCol>
                <a:gridCol w="295492">
                  <a:extLst>
                    <a:ext uri="{9D8B030D-6E8A-4147-A177-3AD203B41FA5}">
                      <a16:colId xmlns:a16="http://schemas.microsoft.com/office/drawing/2014/main" val="1888319813"/>
                    </a:ext>
                  </a:extLst>
                </a:gridCol>
                <a:gridCol w="295492">
                  <a:extLst>
                    <a:ext uri="{9D8B030D-6E8A-4147-A177-3AD203B41FA5}">
                      <a16:colId xmlns:a16="http://schemas.microsoft.com/office/drawing/2014/main" val="3471064540"/>
                    </a:ext>
                  </a:extLst>
                </a:gridCol>
                <a:gridCol w="295492">
                  <a:extLst>
                    <a:ext uri="{9D8B030D-6E8A-4147-A177-3AD203B41FA5}">
                      <a16:colId xmlns:a16="http://schemas.microsoft.com/office/drawing/2014/main" val="670551899"/>
                    </a:ext>
                  </a:extLst>
                </a:gridCol>
                <a:gridCol w="295492">
                  <a:extLst>
                    <a:ext uri="{9D8B030D-6E8A-4147-A177-3AD203B41FA5}">
                      <a16:colId xmlns:a16="http://schemas.microsoft.com/office/drawing/2014/main" val="1100152168"/>
                    </a:ext>
                  </a:extLst>
                </a:gridCol>
                <a:gridCol w="295492">
                  <a:extLst>
                    <a:ext uri="{9D8B030D-6E8A-4147-A177-3AD203B41FA5}">
                      <a16:colId xmlns:a16="http://schemas.microsoft.com/office/drawing/2014/main" val="2165801595"/>
                    </a:ext>
                  </a:extLst>
                </a:gridCol>
                <a:gridCol w="295492">
                  <a:extLst>
                    <a:ext uri="{9D8B030D-6E8A-4147-A177-3AD203B41FA5}">
                      <a16:colId xmlns:a16="http://schemas.microsoft.com/office/drawing/2014/main" val="3981167565"/>
                    </a:ext>
                  </a:extLst>
                </a:gridCol>
                <a:gridCol w="295492">
                  <a:extLst>
                    <a:ext uri="{9D8B030D-6E8A-4147-A177-3AD203B41FA5}">
                      <a16:colId xmlns:a16="http://schemas.microsoft.com/office/drawing/2014/main" val="2740792325"/>
                    </a:ext>
                  </a:extLst>
                </a:gridCol>
                <a:gridCol w="295492">
                  <a:extLst>
                    <a:ext uri="{9D8B030D-6E8A-4147-A177-3AD203B41FA5}">
                      <a16:colId xmlns:a16="http://schemas.microsoft.com/office/drawing/2014/main" val="54782936"/>
                    </a:ext>
                  </a:extLst>
                </a:gridCol>
                <a:gridCol w="295492">
                  <a:extLst>
                    <a:ext uri="{9D8B030D-6E8A-4147-A177-3AD203B41FA5}">
                      <a16:colId xmlns:a16="http://schemas.microsoft.com/office/drawing/2014/main" val="154020430"/>
                    </a:ext>
                  </a:extLst>
                </a:gridCol>
                <a:gridCol w="295492">
                  <a:extLst>
                    <a:ext uri="{9D8B030D-6E8A-4147-A177-3AD203B41FA5}">
                      <a16:colId xmlns:a16="http://schemas.microsoft.com/office/drawing/2014/main" val="3928813835"/>
                    </a:ext>
                  </a:extLst>
                </a:gridCol>
                <a:gridCol w="295492">
                  <a:extLst>
                    <a:ext uri="{9D8B030D-6E8A-4147-A177-3AD203B41FA5}">
                      <a16:colId xmlns:a16="http://schemas.microsoft.com/office/drawing/2014/main" val="4210253042"/>
                    </a:ext>
                  </a:extLst>
                </a:gridCol>
                <a:gridCol w="295492">
                  <a:extLst>
                    <a:ext uri="{9D8B030D-6E8A-4147-A177-3AD203B41FA5}">
                      <a16:colId xmlns:a16="http://schemas.microsoft.com/office/drawing/2014/main" val="895787419"/>
                    </a:ext>
                  </a:extLst>
                </a:gridCol>
                <a:gridCol w="295492">
                  <a:extLst>
                    <a:ext uri="{9D8B030D-6E8A-4147-A177-3AD203B41FA5}">
                      <a16:colId xmlns:a16="http://schemas.microsoft.com/office/drawing/2014/main" val="3828388578"/>
                    </a:ext>
                  </a:extLst>
                </a:gridCol>
                <a:gridCol w="295492">
                  <a:extLst>
                    <a:ext uri="{9D8B030D-6E8A-4147-A177-3AD203B41FA5}">
                      <a16:colId xmlns:a16="http://schemas.microsoft.com/office/drawing/2014/main" val="742550205"/>
                    </a:ext>
                  </a:extLst>
                </a:gridCol>
                <a:gridCol w="295492">
                  <a:extLst>
                    <a:ext uri="{9D8B030D-6E8A-4147-A177-3AD203B41FA5}">
                      <a16:colId xmlns:a16="http://schemas.microsoft.com/office/drawing/2014/main" val="1408879461"/>
                    </a:ext>
                  </a:extLst>
                </a:gridCol>
              </a:tblGrid>
              <a:tr h="251292">
                <a:tc>
                  <a:txBody>
                    <a:bodyPr/>
                    <a:lstStyle/>
                    <a:p>
                      <a:r>
                        <a:rPr lang="en-US" sz="800" b="1" i="0" dirty="0">
                          <a:solidFill>
                            <a:schemeClr val="bg1"/>
                          </a:solidFill>
                          <a:latin typeface="+mj-lt"/>
                        </a:rPr>
                        <a:t>Sales </a:t>
                      </a:r>
                      <a:r>
                        <a:rPr lang="en-US" sz="800" b="1" i="0">
                          <a:solidFill>
                            <a:schemeClr val="bg1"/>
                          </a:solidFill>
                          <a:latin typeface="+mj-lt"/>
                        </a:rPr>
                        <a:t>Vs. 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rPr dirty="0"/>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rPr dirty="0"/>
                        <a:t>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helf </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Price</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Unit</a:t>
            </a:r>
          </a:p>
          <a:p>
            <a:pPr marL="0" marR="0" lvl="0" indent="0" defTabSz="685749"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Nexa Bold" panose="00000800000000000000" pitchFamily="2" charset="0"/>
              </a:rPr>
              <a:t>(</a:t>
            </a:r>
            <a:r>
              <a:rPr lang="en-US" sz="800" dirty="0">
                <a:solidFill>
                  <a:schemeClr val="tx1"/>
                </a:solidFill>
                <a:highlight>
                  <a:srgbClr val="FFFF00"/>
                </a:highlight>
                <a:latin typeface="Nexa Bold" panose="00000800000000000000" pitchFamily="2" charset="0"/>
              </a:rPr>
              <a:t>€</a:t>
            </a:r>
            <a:r>
              <a:rPr lang="en-US" sz="800" dirty="0">
                <a:solidFill>
                  <a:schemeClr val="tx1"/>
                </a:solidFill>
                <a:latin typeface="Nexa Bold" panose="00000800000000000000" pitchFamily="2" charset="0"/>
              </a:rPr>
              <a:t>)</a:t>
            </a:r>
            <a:endPar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endParaRP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Value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ales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M)</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8/11/2025</a:t>
            </a:fld>
            <a:endParaRPr lang="en-US" sz="500"/>
          </a:p>
        </p:txBody>
      </p:sp>
    </p:spTree>
    <p:extLst>
      <p:ext uri="{BB962C8B-B14F-4D97-AF65-F5344CB8AC3E}">
        <p14:creationId xmlns:p14="http://schemas.microsoft.com/office/powerpoint/2010/main" val="395318366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r>
              <a:rPr lang="en-US" dirty="0"/>
              <a:t>Inter-size Discount  | </a:t>
            </a:r>
            <a:r>
              <a:rPr lang="en-US" dirty="0">
                <a:highlight>
                  <a:srgbClr val="FFFF00"/>
                </a:highlight>
              </a:rPr>
              <a:t>Variant</a:t>
            </a:r>
            <a:r>
              <a:rPr lang="en-US" dirty="0"/>
              <a:t> | </a:t>
            </a:r>
            <a:r>
              <a:rPr lang="en-US" dirty="0">
                <a:highlight>
                  <a:srgbClr val="FFFF00"/>
                </a:highlight>
              </a:rPr>
              <a:t>National</a:t>
            </a:r>
            <a:r>
              <a:rPr lang="en-US" dirty="0"/>
              <a:t> | P12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2800073758"/>
              </p:ext>
            </p:extLst>
          </p:nvPr>
        </p:nvGraphicFramePr>
        <p:xfrm>
          <a:off x="555229" y="4265104"/>
          <a:ext cx="7441138"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95492">
                  <a:extLst>
                    <a:ext uri="{9D8B030D-6E8A-4147-A177-3AD203B41FA5}">
                      <a16:colId xmlns:a16="http://schemas.microsoft.com/office/drawing/2014/main" val="2253286919"/>
                    </a:ext>
                  </a:extLst>
                </a:gridCol>
                <a:gridCol w="295492">
                  <a:extLst>
                    <a:ext uri="{9D8B030D-6E8A-4147-A177-3AD203B41FA5}">
                      <a16:colId xmlns:a16="http://schemas.microsoft.com/office/drawing/2014/main" val="2739285047"/>
                    </a:ext>
                  </a:extLst>
                </a:gridCol>
                <a:gridCol w="295492">
                  <a:extLst>
                    <a:ext uri="{9D8B030D-6E8A-4147-A177-3AD203B41FA5}">
                      <a16:colId xmlns:a16="http://schemas.microsoft.com/office/drawing/2014/main" val="686050863"/>
                    </a:ext>
                  </a:extLst>
                </a:gridCol>
                <a:gridCol w="295492">
                  <a:extLst>
                    <a:ext uri="{9D8B030D-6E8A-4147-A177-3AD203B41FA5}">
                      <a16:colId xmlns:a16="http://schemas.microsoft.com/office/drawing/2014/main" val="3765127706"/>
                    </a:ext>
                  </a:extLst>
                </a:gridCol>
                <a:gridCol w="295492">
                  <a:extLst>
                    <a:ext uri="{9D8B030D-6E8A-4147-A177-3AD203B41FA5}">
                      <a16:colId xmlns:a16="http://schemas.microsoft.com/office/drawing/2014/main" val="273303937"/>
                    </a:ext>
                  </a:extLst>
                </a:gridCol>
                <a:gridCol w="295492">
                  <a:extLst>
                    <a:ext uri="{9D8B030D-6E8A-4147-A177-3AD203B41FA5}">
                      <a16:colId xmlns:a16="http://schemas.microsoft.com/office/drawing/2014/main" val="1190134658"/>
                    </a:ext>
                  </a:extLst>
                </a:gridCol>
                <a:gridCol w="295492">
                  <a:extLst>
                    <a:ext uri="{9D8B030D-6E8A-4147-A177-3AD203B41FA5}">
                      <a16:colId xmlns:a16="http://schemas.microsoft.com/office/drawing/2014/main" val="1152288185"/>
                    </a:ext>
                  </a:extLst>
                </a:gridCol>
                <a:gridCol w="295492">
                  <a:extLst>
                    <a:ext uri="{9D8B030D-6E8A-4147-A177-3AD203B41FA5}">
                      <a16:colId xmlns:a16="http://schemas.microsoft.com/office/drawing/2014/main" val="1888319813"/>
                    </a:ext>
                  </a:extLst>
                </a:gridCol>
                <a:gridCol w="295492">
                  <a:extLst>
                    <a:ext uri="{9D8B030D-6E8A-4147-A177-3AD203B41FA5}">
                      <a16:colId xmlns:a16="http://schemas.microsoft.com/office/drawing/2014/main" val="3471064540"/>
                    </a:ext>
                  </a:extLst>
                </a:gridCol>
                <a:gridCol w="295492">
                  <a:extLst>
                    <a:ext uri="{9D8B030D-6E8A-4147-A177-3AD203B41FA5}">
                      <a16:colId xmlns:a16="http://schemas.microsoft.com/office/drawing/2014/main" val="670551899"/>
                    </a:ext>
                  </a:extLst>
                </a:gridCol>
                <a:gridCol w="295492">
                  <a:extLst>
                    <a:ext uri="{9D8B030D-6E8A-4147-A177-3AD203B41FA5}">
                      <a16:colId xmlns:a16="http://schemas.microsoft.com/office/drawing/2014/main" val="1100152168"/>
                    </a:ext>
                  </a:extLst>
                </a:gridCol>
                <a:gridCol w="295492">
                  <a:extLst>
                    <a:ext uri="{9D8B030D-6E8A-4147-A177-3AD203B41FA5}">
                      <a16:colId xmlns:a16="http://schemas.microsoft.com/office/drawing/2014/main" val="2165801595"/>
                    </a:ext>
                  </a:extLst>
                </a:gridCol>
                <a:gridCol w="295492">
                  <a:extLst>
                    <a:ext uri="{9D8B030D-6E8A-4147-A177-3AD203B41FA5}">
                      <a16:colId xmlns:a16="http://schemas.microsoft.com/office/drawing/2014/main" val="3981167565"/>
                    </a:ext>
                  </a:extLst>
                </a:gridCol>
                <a:gridCol w="295492">
                  <a:extLst>
                    <a:ext uri="{9D8B030D-6E8A-4147-A177-3AD203B41FA5}">
                      <a16:colId xmlns:a16="http://schemas.microsoft.com/office/drawing/2014/main" val="2740792325"/>
                    </a:ext>
                  </a:extLst>
                </a:gridCol>
                <a:gridCol w="295492">
                  <a:extLst>
                    <a:ext uri="{9D8B030D-6E8A-4147-A177-3AD203B41FA5}">
                      <a16:colId xmlns:a16="http://schemas.microsoft.com/office/drawing/2014/main" val="54782936"/>
                    </a:ext>
                  </a:extLst>
                </a:gridCol>
                <a:gridCol w="295492">
                  <a:extLst>
                    <a:ext uri="{9D8B030D-6E8A-4147-A177-3AD203B41FA5}">
                      <a16:colId xmlns:a16="http://schemas.microsoft.com/office/drawing/2014/main" val="154020430"/>
                    </a:ext>
                  </a:extLst>
                </a:gridCol>
                <a:gridCol w="295492">
                  <a:extLst>
                    <a:ext uri="{9D8B030D-6E8A-4147-A177-3AD203B41FA5}">
                      <a16:colId xmlns:a16="http://schemas.microsoft.com/office/drawing/2014/main" val="3928813835"/>
                    </a:ext>
                  </a:extLst>
                </a:gridCol>
                <a:gridCol w="295492">
                  <a:extLst>
                    <a:ext uri="{9D8B030D-6E8A-4147-A177-3AD203B41FA5}">
                      <a16:colId xmlns:a16="http://schemas.microsoft.com/office/drawing/2014/main" val="4210253042"/>
                    </a:ext>
                  </a:extLst>
                </a:gridCol>
                <a:gridCol w="295492">
                  <a:extLst>
                    <a:ext uri="{9D8B030D-6E8A-4147-A177-3AD203B41FA5}">
                      <a16:colId xmlns:a16="http://schemas.microsoft.com/office/drawing/2014/main" val="895787419"/>
                    </a:ext>
                  </a:extLst>
                </a:gridCol>
                <a:gridCol w="295492">
                  <a:extLst>
                    <a:ext uri="{9D8B030D-6E8A-4147-A177-3AD203B41FA5}">
                      <a16:colId xmlns:a16="http://schemas.microsoft.com/office/drawing/2014/main" val="3828388578"/>
                    </a:ext>
                  </a:extLst>
                </a:gridCol>
                <a:gridCol w="295492">
                  <a:extLst>
                    <a:ext uri="{9D8B030D-6E8A-4147-A177-3AD203B41FA5}">
                      <a16:colId xmlns:a16="http://schemas.microsoft.com/office/drawing/2014/main" val="742550205"/>
                    </a:ext>
                  </a:extLst>
                </a:gridCol>
                <a:gridCol w="295492">
                  <a:extLst>
                    <a:ext uri="{9D8B030D-6E8A-4147-A177-3AD203B41FA5}">
                      <a16:colId xmlns:a16="http://schemas.microsoft.com/office/drawing/2014/main" val="1408879461"/>
                    </a:ext>
                  </a:extLst>
                </a:gridCol>
              </a:tblGrid>
              <a:tr h="251292">
                <a:tc>
                  <a:txBody>
                    <a:bodyPr/>
                    <a:lstStyle/>
                    <a:p>
                      <a:r>
                        <a:rPr lang="en-US" sz="800" b="1" i="0" dirty="0">
                          <a:solidFill>
                            <a:schemeClr val="bg1"/>
                          </a:solidFill>
                          <a:latin typeface="+mj-lt"/>
                        </a:rPr>
                        <a:t>Sales </a:t>
                      </a:r>
                      <a:r>
                        <a:rPr lang="en-US" sz="800" b="1" i="0">
                          <a:solidFill>
                            <a:schemeClr val="bg1"/>
                          </a:solidFill>
                          <a:latin typeface="+mj-lt"/>
                        </a:rPr>
                        <a:t>Vs. 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rPr dirty="0"/>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rPr dirty="0"/>
                        <a:t>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helf </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Price</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Unit</a:t>
            </a:r>
          </a:p>
          <a:p>
            <a:pPr marL="0" marR="0" lvl="0" indent="0" defTabSz="685749"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Nexa Bold" panose="00000800000000000000" pitchFamily="2" charset="0"/>
              </a:rPr>
              <a:t>(</a:t>
            </a:r>
            <a:r>
              <a:rPr lang="en-US" sz="800" dirty="0">
                <a:solidFill>
                  <a:schemeClr val="tx1"/>
                </a:solidFill>
                <a:highlight>
                  <a:srgbClr val="FFFF00"/>
                </a:highlight>
                <a:latin typeface="Nexa Bold" panose="00000800000000000000" pitchFamily="2" charset="0"/>
              </a:rPr>
              <a:t>€</a:t>
            </a:r>
            <a:r>
              <a:rPr lang="en-US" sz="800" dirty="0">
                <a:solidFill>
                  <a:schemeClr val="tx1"/>
                </a:solidFill>
                <a:latin typeface="Nexa Bold" panose="00000800000000000000" pitchFamily="2" charset="0"/>
              </a:rPr>
              <a:t>)</a:t>
            </a:r>
            <a:endPar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endParaRP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Value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ales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M)</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8/11/2025</a:t>
            </a:fld>
            <a:endParaRPr lang="en-US" sz="500"/>
          </a:p>
        </p:txBody>
      </p:sp>
    </p:spTree>
    <p:extLst>
      <p:ext uri="{BB962C8B-B14F-4D97-AF65-F5344CB8AC3E}">
        <p14:creationId xmlns:p14="http://schemas.microsoft.com/office/powerpoint/2010/main" val="89578592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r>
              <a:rPr lang="en-US" dirty="0"/>
              <a:t>Inter-size Discount  | </a:t>
            </a:r>
            <a:r>
              <a:rPr lang="en-US" dirty="0">
                <a:highlight>
                  <a:srgbClr val="FFFF00"/>
                </a:highlight>
              </a:rPr>
              <a:t>Variant</a:t>
            </a:r>
            <a:r>
              <a:rPr lang="en-US" dirty="0"/>
              <a:t> | </a:t>
            </a:r>
            <a:r>
              <a:rPr lang="en-US" dirty="0">
                <a:highlight>
                  <a:srgbClr val="FFFF00"/>
                </a:highlight>
              </a:rPr>
              <a:t>National</a:t>
            </a:r>
            <a:r>
              <a:rPr lang="en-US" dirty="0"/>
              <a:t> | P12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2800073758"/>
              </p:ext>
            </p:extLst>
          </p:nvPr>
        </p:nvGraphicFramePr>
        <p:xfrm>
          <a:off x="555229" y="4265104"/>
          <a:ext cx="7441138"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95492">
                  <a:extLst>
                    <a:ext uri="{9D8B030D-6E8A-4147-A177-3AD203B41FA5}">
                      <a16:colId xmlns:a16="http://schemas.microsoft.com/office/drawing/2014/main" val="2253286919"/>
                    </a:ext>
                  </a:extLst>
                </a:gridCol>
                <a:gridCol w="295492">
                  <a:extLst>
                    <a:ext uri="{9D8B030D-6E8A-4147-A177-3AD203B41FA5}">
                      <a16:colId xmlns:a16="http://schemas.microsoft.com/office/drawing/2014/main" val="2739285047"/>
                    </a:ext>
                  </a:extLst>
                </a:gridCol>
                <a:gridCol w="295492">
                  <a:extLst>
                    <a:ext uri="{9D8B030D-6E8A-4147-A177-3AD203B41FA5}">
                      <a16:colId xmlns:a16="http://schemas.microsoft.com/office/drawing/2014/main" val="686050863"/>
                    </a:ext>
                  </a:extLst>
                </a:gridCol>
                <a:gridCol w="295492">
                  <a:extLst>
                    <a:ext uri="{9D8B030D-6E8A-4147-A177-3AD203B41FA5}">
                      <a16:colId xmlns:a16="http://schemas.microsoft.com/office/drawing/2014/main" val="3765127706"/>
                    </a:ext>
                  </a:extLst>
                </a:gridCol>
                <a:gridCol w="295492">
                  <a:extLst>
                    <a:ext uri="{9D8B030D-6E8A-4147-A177-3AD203B41FA5}">
                      <a16:colId xmlns:a16="http://schemas.microsoft.com/office/drawing/2014/main" val="273303937"/>
                    </a:ext>
                  </a:extLst>
                </a:gridCol>
                <a:gridCol w="295492">
                  <a:extLst>
                    <a:ext uri="{9D8B030D-6E8A-4147-A177-3AD203B41FA5}">
                      <a16:colId xmlns:a16="http://schemas.microsoft.com/office/drawing/2014/main" val="1190134658"/>
                    </a:ext>
                  </a:extLst>
                </a:gridCol>
                <a:gridCol w="295492">
                  <a:extLst>
                    <a:ext uri="{9D8B030D-6E8A-4147-A177-3AD203B41FA5}">
                      <a16:colId xmlns:a16="http://schemas.microsoft.com/office/drawing/2014/main" val="1152288185"/>
                    </a:ext>
                  </a:extLst>
                </a:gridCol>
                <a:gridCol w="295492">
                  <a:extLst>
                    <a:ext uri="{9D8B030D-6E8A-4147-A177-3AD203B41FA5}">
                      <a16:colId xmlns:a16="http://schemas.microsoft.com/office/drawing/2014/main" val="1888319813"/>
                    </a:ext>
                  </a:extLst>
                </a:gridCol>
                <a:gridCol w="295492">
                  <a:extLst>
                    <a:ext uri="{9D8B030D-6E8A-4147-A177-3AD203B41FA5}">
                      <a16:colId xmlns:a16="http://schemas.microsoft.com/office/drawing/2014/main" val="3471064540"/>
                    </a:ext>
                  </a:extLst>
                </a:gridCol>
                <a:gridCol w="295492">
                  <a:extLst>
                    <a:ext uri="{9D8B030D-6E8A-4147-A177-3AD203B41FA5}">
                      <a16:colId xmlns:a16="http://schemas.microsoft.com/office/drawing/2014/main" val="670551899"/>
                    </a:ext>
                  </a:extLst>
                </a:gridCol>
                <a:gridCol w="295492">
                  <a:extLst>
                    <a:ext uri="{9D8B030D-6E8A-4147-A177-3AD203B41FA5}">
                      <a16:colId xmlns:a16="http://schemas.microsoft.com/office/drawing/2014/main" val="1100152168"/>
                    </a:ext>
                  </a:extLst>
                </a:gridCol>
                <a:gridCol w="295492">
                  <a:extLst>
                    <a:ext uri="{9D8B030D-6E8A-4147-A177-3AD203B41FA5}">
                      <a16:colId xmlns:a16="http://schemas.microsoft.com/office/drawing/2014/main" val="2165801595"/>
                    </a:ext>
                  </a:extLst>
                </a:gridCol>
                <a:gridCol w="295492">
                  <a:extLst>
                    <a:ext uri="{9D8B030D-6E8A-4147-A177-3AD203B41FA5}">
                      <a16:colId xmlns:a16="http://schemas.microsoft.com/office/drawing/2014/main" val="3981167565"/>
                    </a:ext>
                  </a:extLst>
                </a:gridCol>
                <a:gridCol w="295492">
                  <a:extLst>
                    <a:ext uri="{9D8B030D-6E8A-4147-A177-3AD203B41FA5}">
                      <a16:colId xmlns:a16="http://schemas.microsoft.com/office/drawing/2014/main" val="2740792325"/>
                    </a:ext>
                  </a:extLst>
                </a:gridCol>
                <a:gridCol w="295492">
                  <a:extLst>
                    <a:ext uri="{9D8B030D-6E8A-4147-A177-3AD203B41FA5}">
                      <a16:colId xmlns:a16="http://schemas.microsoft.com/office/drawing/2014/main" val="54782936"/>
                    </a:ext>
                  </a:extLst>
                </a:gridCol>
                <a:gridCol w="295492">
                  <a:extLst>
                    <a:ext uri="{9D8B030D-6E8A-4147-A177-3AD203B41FA5}">
                      <a16:colId xmlns:a16="http://schemas.microsoft.com/office/drawing/2014/main" val="154020430"/>
                    </a:ext>
                  </a:extLst>
                </a:gridCol>
                <a:gridCol w="295492">
                  <a:extLst>
                    <a:ext uri="{9D8B030D-6E8A-4147-A177-3AD203B41FA5}">
                      <a16:colId xmlns:a16="http://schemas.microsoft.com/office/drawing/2014/main" val="3928813835"/>
                    </a:ext>
                  </a:extLst>
                </a:gridCol>
                <a:gridCol w="295492">
                  <a:extLst>
                    <a:ext uri="{9D8B030D-6E8A-4147-A177-3AD203B41FA5}">
                      <a16:colId xmlns:a16="http://schemas.microsoft.com/office/drawing/2014/main" val="4210253042"/>
                    </a:ext>
                  </a:extLst>
                </a:gridCol>
                <a:gridCol w="295492">
                  <a:extLst>
                    <a:ext uri="{9D8B030D-6E8A-4147-A177-3AD203B41FA5}">
                      <a16:colId xmlns:a16="http://schemas.microsoft.com/office/drawing/2014/main" val="895787419"/>
                    </a:ext>
                  </a:extLst>
                </a:gridCol>
                <a:gridCol w="295492">
                  <a:extLst>
                    <a:ext uri="{9D8B030D-6E8A-4147-A177-3AD203B41FA5}">
                      <a16:colId xmlns:a16="http://schemas.microsoft.com/office/drawing/2014/main" val="3828388578"/>
                    </a:ext>
                  </a:extLst>
                </a:gridCol>
                <a:gridCol w="295492">
                  <a:extLst>
                    <a:ext uri="{9D8B030D-6E8A-4147-A177-3AD203B41FA5}">
                      <a16:colId xmlns:a16="http://schemas.microsoft.com/office/drawing/2014/main" val="742550205"/>
                    </a:ext>
                  </a:extLst>
                </a:gridCol>
                <a:gridCol w="295492">
                  <a:extLst>
                    <a:ext uri="{9D8B030D-6E8A-4147-A177-3AD203B41FA5}">
                      <a16:colId xmlns:a16="http://schemas.microsoft.com/office/drawing/2014/main" val="1408879461"/>
                    </a:ext>
                  </a:extLst>
                </a:gridCol>
              </a:tblGrid>
              <a:tr h="251292">
                <a:tc>
                  <a:txBody>
                    <a:bodyPr/>
                    <a:lstStyle/>
                    <a:p>
                      <a:r>
                        <a:rPr lang="en-US" sz="800" b="1" i="0" dirty="0">
                          <a:solidFill>
                            <a:schemeClr val="bg1"/>
                          </a:solidFill>
                          <a:latin typeface="+mj-lt"/>
                        </a:rPr>
                        <a:t>Sales </a:t>
                      </a:r>
                      <a:r>
                        <a:rPr lang="en-US" sz="800" b="1" i="0">
                          <a:solidFill>
                            <a:schemeClr val="bg1"/>
                          </a:solidFill>
                          <a:latin typeface="+mj-lt"/>
                        </a:rPr>
                        <a:t>Vs. 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rPr dirty="0"/>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rPr dirty="0"/>
                        <a:t>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helf </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Price</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Unit</a:t>
            </a:r>
          </a:p>
          <a:p>
            <a:pPr marL="0" marR="0" lvl="0" indent="0" defTabSz="685749"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Nexa Bold" panose="00000800000000000000" pitchFamily="2" charset="0"/>
              </a:rPr>
              <a:t>(</a:t>
            </a:r>
            <a:r>
              <a:rPr lang="en-US" sz="800" dirty="0">
                <a:solidFill>
                  <a:schemeClr val="tx1"/>
                </a:solidFill>
                <a:highlight>
                  <a:srgbClr val="FFFF00"/>
                </a:highlight>
                <a:latin typeface="Nexa Bold" panose="00000800000000000000" pitchFamily="2" charset="0"/>
              </a:rPr>
              <a:t>€</a:t>
            </a:r>
            <a:r>
              <a:rPr lang="en-US" sz="800" dirty="0">
                <a:solidFill>
                  <a:schemeClr val="tx1"/>
                </a:solidFill>
                <a:latin typeface="Nexa Bold" panose="00000800000000000000" pitchFamily="2" charset="0"/>
              </a:rPr>
              <a:t>)</a:t>
            </a:r>
            <a:endPar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endParaRP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Value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ales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M)</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8/11/2025</a:t>
            </a:fld>
            <a:endParaRPr lang="en-US" sz="500"/>
          </a:p>
        </p:txBody>
      </p:sp>
    </p:spTree>
    <p:extLst>
      <p:ext uri="{BB962C8B-B14F-4D97-AF65-F5344CB8AC3E}">
        <p14:creationId xmlns:p14="http://schemas.microsoft.com/office/powerpoint/2010/main" val="2294156721"/>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r>
              <a:rPr lang="en-US" dirty="0"/>
              <a:t>Inter-size Discount  | </a:t>
            </a:r>
            <a:r>
              <a:rPr lang="en-US" dirty="0">
                <a:highlight>
                  <a:srgbClr val="FFFF00"/>
                </a:highlight>
              </a:rPr>
              <a:t>Variant</a:t>
            </a:r>
            <a:r>
              <a:rPr lang="en-US" dirty="0"/>
              <a:t> | </a:t>
            </a:r>
            <a:r>
              <a:rPr lang="en-US" dirty="0">
                <a:highlight>
                  <a:srgbClr val="FFFF00"/>
                </a:highlight>
              </a:rPr>
              <a:t>National</a:t>
            </a:r>
            <a:r>
              <a:rPr lang="en-US" dirty="0"/>
              <a:t> | P12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2800073758"/>
              </p:ext>
            </p:extLst>
          </p:nvPr>
        </p:nvGraphicFramePr>
        <p:xfrm>
          <a:off x="555229" y="4265104"/>
          <a:ext cx="7441138"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95492">
                  <a:extLst>
                    <a:ext uri="{9D8B030D-6E8A-4147-A177-3AD203B41FA5}">
                      <a16:colId xmlns:a16="http://schemas.microsoft.com/office/drawing/2014/main" val="2253286919"/>
                    </a:ext>
                  </a:extLst>
                </a:gridCol>
                <a:gridCol w="295492">
                  <a:extLst>
                    <a:ext uri="{9D8B030D-6E8A-4147-A177-3AD203B41FA5}">
                      <a16:colId xmlns:a16="http://schemas.microsoft.com/office/drawing/2014/main" val="2739285047"/>
                    </a:ext>
                  </a:extLst>
                </a:gridCol>
                <a:gridCol w="295492">
                  <a:extLst>
                    <a:ext uri="{9D8B030D-6E8A-4147-A177-3AD203B41FA5}">
                      <a16:colId xmlns:a16="http://schemas.microsoft.com/office/drawing/2014/main" val="686050863"/>
                    </a:ext>
                  </a:extLst>
                </a:gridCol>
                <a:gridCol w="295492">
                  <a:extLst>
                    <a:ext uri="{9D8B030D-6E8A-4147-A177-3AD203B41FA5}">
                      <a16:colId xmlns:a16="http://schemas.microsoft.com/office/drawing/2014/main" val="3765127706"/>
                    </a:ext>
                  </a:extLst>
                </a:gridCol>
                <a:gridCol w="295492">
                  <a:extLst>
                    <a:ext uri="{9D8B030D-6E8A-4147-A177-3AD203B41FA5}">
                      <a16:colId xmlns:a16="http://schemas.microsoft.com/office/drawing/2014/main" val="273303937"/>
                    </a:ext>
                  </a:extLst>
                </a:gridCol>
                <a:gridCol w="295492">
                  <a:extLst>
                    <a:ext uri="{9D8B030D-6E8A-4147-A177-3AD203B41FA5}">
                      <a16:colId xmlns:a16="http://schemas.microsoft.com/office/drawing/2014/main" val="1190134658"/>
                    </a:ext>
                  </a:extLst>
                </a:gridCol>
                <a:gridCol w="295492">
                  <a:extLst>
                    <a:ext uri="{9D8B030D-6E8A-4147-A177-3AD203B41FA5}">
                      <a16:colId xmlns:a16="http://schemas.microsoft.com/office/drawing/2014/main" val="1152288185"/>
                    </a:ext>
                  </a:extLst>
                </a:gridCol>
                <a:gridCol w="295492">
                  <a:extLst>
                    <a:ext uri="{9D8B030D-6E8A-4147-A177-3AD203B41FA5}">
                      <a16:colId xmlns:a16="http://schemas.microsoft.com/office/drawing/2014/main" val="1888319813"/>
                    </a:ext>
                  </a:extLst>
                </a:gridCol>
                <a:gridCol w="295492">
                  <a:extLst>
                    <a:ext uri="{9D8B030D-6E8A-4147-A177-3AD203B41FA5}">
                      <a16:colId xmlns:a16="http://schemas.microsoft.com/office/drawing/2014/main" val="3471064540"/>
                    </a:ext>
                  </a:extLst>
                </a:gridCol>
                <a:gridCol w="295492">
                  <a:extLst>
                    <a:ext uri="{9D8B030D-6E8A-4147-A177-3AD203B41FA5}">
                      <a16:colId xmlns:a16="http://schemas.microsoft.com/office/drawing/2014/main" val="670551899"/>
                    </a:ext>
                  </a:extLst>
                </a:gridCol>
                <a:gridCol w="295492">
                  <a:extLst>
                    <a:ext uri="{9D8B030D-6E8A-4147-A177-3AD203B41FA5}">
                      <a16:colId xmlns:a16="http://schemas.microsoft.com/office/drawing/2014/main" val="1100152168"/>
                    </a:ext>
                  </a:extLst>
                </a:gridCol>
                <a:gridCol w="295492">
                  <a:extLst>
                    <a:ext uri="{9D8B030D-6E8A-4147-A177-3AD203B41FA5}">
                      <a16:colId xmlns:a16="http://schemas.microsoft.com/office/drawing/2014/main" val="2165801595"/>
                    </a:ext>
                  </a:extLst>
                </a:gridCol>
                <a:gridCol w="295492">
                  <a:extLst>
                    <a:ext uri="{9D8B030D-6E8A-4147-A177-3AD203B41FA5}">
                      <a16:colId xmlns:a16="http://schemas.microsoft.com/office/drawing/2014/main" val="3981167565"/>
                    </a:ext>
                  </a:extLst>
                </a:gridCol>
                <a:gridCol w="295492">
                  <a:extLst>
                    <a:ext uri="{9D8B030D-6E8A-4147-A177-3AD203B41FA5}">
                      <a16:colId xmlns:a16="http://schemas.microsoft.com/office/drawing/2014/main" val="2740792325"/>
                    </a:ext>
                  </a:extLst>
                </a:gridCol>
                <a:gridCol w="295492">
                  <a:extLst>
                    <a:ext uri="{9D8B030D-6E8A-4147-A177-3AD203B41FA5}">
                      <a16:colId xmlns:a16="http://schemas.microsoft.com/office/drawing/2014/main" val="54782936"/>
                    </a:ext>
                  </a:extLst>
                </a:gridCol>
                <a:gridCol w="295492">
                  <a:extLst>
                    <a:ext uri="{9D8B030D-6E8A-4147-A177-3AD203B41FA5}">
                      <a16:colId xmlns:a16="http://schemas.microsoft.com/office/drawing/2014/main" val="154020430"/>
                    </a:ext>
                  </a:extLst>
                </a:gridCol>
                <a:gridCol w="295492">
                  <a:extLst>
                    <a:ext uri="{9D8B030D-6E8A-4147-A177-3AD203B41FA5}">
                      <a16:colId xmlns:a16="http://schemas.microsoft.com/office/drawing/2014/main" val="3928813835"/>
                    </a:ext>
                  </a:extLst>
                </a:gridCol>
                <a:gridCol w="295492">
                  <a:extLst>
                    <a:ext uri="{9D8B030D-6E8A-4147-A177-3AD203B41FA5}">
                      <a16:colId xmlns:a16="http://schemas.microsoft.com/office/drawing/2014/main" val="4210253042"/>
                    </a:ext>
                  </a:extLst>
                </a:gridCol>
                <a:gridCol w="295492">
                  <a:extLst>
                    <a:ext uri="{9D8B030D-6E8A-4147-A177-3AD203B41FA5}">
                      <a16:colId xmlns:a16="http://schemas.microsoft.com/office/drawing/2014/main" val="895787419"/>
                    </a:ext>
                  </a:extLst>
                </a:gridCol>
                <a:gridCol w="295492">
                  <a:extLst>
                    <a:ext uri="{9D8B030D-6E8A-4147-A177-3AD203B41FA5}">
                      <a16:colId xmlns:a16="http://schemas.microsoft.com/office/drawing/2014/main" val="3828388578"/>
                    </a:ext>
                  </a:extLst>
                </a:gridCol>
                <a:gridCol w="295492">
                  <a:extLst>
                    <a:ext uri="{9D8B030D-6E8A-4147-A177-3AD203B41FA5}">
                      <a16:colId xmlns:a16="http://schemas.microsoft.com/office/drawing/2014/main" val="742550205"/>
                    </a:ext>
                  </a:extLst>
                </a:gridCol>
                <a:gridCol w="295492">
                  <a:extLst>
                    <a:ext uri="{9D8B030D-6E8A-4147-A177-3AD203B41FA5}">
                      <a16:colId xmlns:a16="http://schemas.microsoft.com/office/drawing/2014/main" val="1408879461"/>
                    </a:ext>
                  </a:extLst>
                </a:gridCol>
              </a:tblGrid>
              <a:tr h="251292">
                <a:tc>
                  <a:txBody>
                    <a:bodyPr/>
                    <a:lstStyle/>
                    <a:p>
                      <a:r>
                        <a:rPr lang="en-US" sz="800" b="1" i="0" dirty="0">
                          <a:solidFill>
                            <a:schemeClr val="bg1"/>
                          </a:solidFill>
                          <a:latin typeface="+mj-lt"/>
                        </a:rPr>
                        <a:t>Sales </a:t>
                      </a:r>
                      <a:r>
                        <a:rPr lang="en-US" sz="800" b="1" i="0">
                          <a:solidFill>
                            <a:schemeClr val="bg1"/>
                          </a:solidFill>
                          <a:latin typeface="+mj-lt"/>
                        </a:rPr>
                        <a:t>Vs. 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rPr dirty="0"/>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rPr dirty="0"/>
                        <a:t>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helf </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Price</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Unit</a:t>
            </a:r>
          </a:p>
          <a:p>
            <a:pPr marL="0" marR="0" lvl="0" indent="0" defTabSz="685749"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Nexa Bold" panose="00000800000000000000" pitchFamily="2" charset="0"/>
              </a:rPr>
              <a:t>(</a:t>
            </a:r>
            <a:r>
              <a:rPr lang="en-US" sz="800" dirty="0">
                <a:solidFill>
                  <a:schemeClr val="tx1"/>
                </a:solidFill>
                <a:highlight>
                  <a:srgbClr val="FFFF00"/>
                </a:highlight>
                <a:latin typeface="Nexa Bold" panose="00000800000000000000" pitchFamily="2" charset="0"/>
              </a:rPr>
              <a:t>€</a:t>
            </a:r>
            <a:r>
              <a:rPr lang="en-US" sz="800" dirty="0">
                <a:solidFill>
                  <a:schemeClr val="tx1"/>
                </a:solidFill>
                <a:latin typeface="Nexa Bold" panose="00000800000000000000" pitchFamily="2" charset="0"/>
              </a:rPr>
              <a:t>)</a:t>
            </a:r>
            <a:endPar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endParaRP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Value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ales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M)</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8/11/2025</a:t>
            </a:fld>
            <a:endParaRPr lang="en-US" sz="500"/>
          </a:p>
        </p:txBody>
      </p:sp>
    </p:spTree>
    <p:extLst>
      <p:ext uri="{BB962C8B-B14F-4D97-AF65-F5344CB8AC3E}">
        <p14:creationId xmlns:p14="http://schemas.microsoft.com/office/powerpoint/2010/main" val="265150806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r>
              <a:rPr lang="en-US" dirty="0"/>
              <a:t>Inter-size Discount  | </a:t>
            </a:r>
            <a:r>
              <a:rPr lang="en-US" dirty="0">
                <a:highlight>
                  <a:srgbClr val="FFFF00"/>
                </a:highlight>
              </a:rPr>
              <a:t>Variant</a:t>
            </a:r>
            <a:r>
              <a:rPr lang="en-US" dirty="0"/>
              <a:t> | </a:t>
            </a:r>
            <a:r>
              <a:rPr lang="en-US" dirty="0">
                <a:highlight>
                  <a:srgbClr val="FFFF00"/>
                </a:highlight>
              </a:rPr>
              <a:t>National</a:t>
            </a:r>
            <a:r>
              <a:rPr lang="en-US" dirty="0"/>
              <a:t> | P12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2800073758"/>
              </p:ext>
            </p:extLst>
          </p:nvPr>
        </p:nvGraphicFramePr>
        <p:xfrm>
          <a:off x="555229" y="4265104"/>
          <a:ext cx="7441138"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95492">
                  <a:extLst>
                    <a:ext uri="{9D8B030D-6E8A-4147-A177-3AD203B41FA5}">
                      <a16:colId xmlns:a16="http://schemas.microsoft.com/office/drawing/2014/main" val="2253286919"/>
                    </a:ext>
                  </a:extLst>
                </a:gridCol>
                <a:gridCol w="295492">
                  <a:extLst>
                    <a:ext uri="{9D8B030D-6E8A-4147-A177-3AD203B41FA5}">
                      <a16:colId xmlns:a16="http://schemas.microsoft.com/office/drawing/2014/main" val="2739285047"/>
                    </a:ext>
                  </a:extLst>
                </a:gridCol>
                <a:gridCol w="295492">
                  <a:extLst>
                    <a:ext uri="{9D8B030D-6E8A-4147-A177-3AD203B41FA5}">
                      <a16:colId xmlns:a16="http://schemas.microsoft.com/office/drawing/2014/main" val="686050863"/>
                    </a:ext>
                  </a:extLst>
                </a:gridCol>
                <a:gridCol w="295492">
                  <a:extLst>
                    <a:ext uri="{9D8B030D-6E8A-4147-A177-3AD203B41FA5}">
                      <a16:colId xmlns:a16="http://schemas.microsoft.com/office/drawing/2014/main" val="3765127706"/>
                    </a:ext>
                  </a:extLst>
                </a:gridCol>
                <a:gridCol w="295492">
                  <a:extLst>
                    <a:ext uri="{9D8B030D-6E8A-4147-A177-3AD203B41FA5}">
                      <a16:colId xmlns:a16="http://schemas.microsoft.com/office/drawing/2014/main" val="273303937"/>
                    </a:ext>
                  </a:extLst>
                </a:gridCol>
                <a:gridCol w="295492">
                  <a:extLst>
                    <a:ext uri="{9D8B030D-6E8A-4147-A177-3AD203B41FA5}">
                      <a16:colId xmlns:a16="http://schemas.microsoft.com/office/drawing/2014/main" val="1190134658"/>
                    </a:ext>
                  </a:extLst>
                </a:gridCol>
                <a:gridCol w="295492">
                  <a:extLst>
                    <a:ext uri="{9D8B030D-6E8A-4147-A177-3AD203B41FA5}">
                      <a16:colId xmlns:a16="http://schemas.microsoft.com/office/drawing/2014/main" val="1152288185"/>
                    </a:ext>
                  </a:extLst>
                </a:gridCol>
                <a:gridCol w="295492">
                  <a:extLst>
                    <a:ext uri="{9D8B030D-6E8A-4147-A177-3AD203B41FA5}">
                      <a16:colId xmlns:a16="http://schemas.microsoft.com/office/drawing/2014/main" val="1888319813"/>
                    </a:ext>
                  </a:extLst>
                </a:gridCol>
                <a:gridCol w="295492">
                  <a:extLst>
                    <a:ext uri="{9D8B030D-6E8A-4147-A177-3AD203B41FA5}">
                      <a16:colId xmlns:a16="http://schemas.microsoft.com/office/drawing/2014/main" val="3471064540"/>
                    </a:ext>
                  </a:extLst>
                </a:gridCol>
                <a:gridCol w="295492">
                  <a:extLst>
                    <a:ext uri="{9D8B030D-6E8A-4147-A177-3AD203B41FA5}">
                      <a16:colId xmlns:a16="http://schemas.microsoft.com/office/drawing/2014/main" val="670551899"/>
                    </a:ext>
                  </a:extLst>
                </a:gridCol>
                <a:gridCol w="295492">
                  <a:extLst>
                    <a:ext uri="{9D8B030D-6E8A-4147-A177-3AD203B41FA5}">
                      <a16:colId xmlns:a16="http://schemas.microsoft.com/office/drawing/2014/main" val="1100152168"/>
                    </a:ext>
                  </a:extLst>
                </a:gridCol>
                <a:gridCol w="295492">
                  <a:extLst>
                    <a:ext uri="{9D8B030D-6E8A-4147-A177-3AD203B41FA5}">
                      <a16:colId xmlns:a16="http://schemas.microsoft.com/office/drawing/2014/main" val="2165801595"/>
                    </a:ext>
                  </a:extLst>
                </a:gridCol>
                <a:gridCol w="295492">
                  <a:extLst>
                    <a:ext uri="{9D8B030D-6E8A-4147-A177-3AD203B41FA5}">
                      <a16:colId xmlns:a16="http://schemas.microsoft.com/office/drawing/2014/main" val="3981167565"/>
                    </a:ext>
                  </a:extLst>
                </a:gridCol>
                <a:gridCol w="295492">
                  <a:extLst>
                    <a:ext uri="{9D8B030D-6E8A-4147-A177-3AD203B41FA5}">
                      <a16:colId xmlns:a16="http://schemas.microsoft.com/office/drawing/2014/main" val="2740792325"/>
                    </a:ext>
                  </a:extLst>
                </a:gridCol>
                <a:gridCol w="295492">
                  <a:extLst>
                    <a:ext uri="{9D8B030D-6E8A-4147-A177-3AD203B41FA5}">
                      <a16:colId xmlns:a16="http://schemas.microsoft.com/office/drawing/2014/main" val="54782936"/>
                    </a:ext>
                  </a:extLst>
                </a:gridCol>
                <a:gridCol w="295492">
                  <a:extLst>
                    <a:ext uri="{9D8B030D-6E8A-4147-A177-3AD203B41FA5}">
                      <a16:colId xmlns:a16="http://schemas.microsoft.com/office/drawing/2014/main" val="154020430"/>
                    </a:ext>
                  </a:extLst>
                </a:gridCol>
                <a:gridCol w="295492">
                  <a:extLst>
                    <a:ext uri="{9D8B030D-6E8A-4147-A177-3AD203B41FA5}">
                      <a16:colId xmlns:a16="http://schemas.microsoft.com/office/drawing/2014/main" val="3928813835"/>
                    </a:ext>
                  </a:extLst>
                </a:gridCol>
                <a:gridCol w="295492">
                  <a:extLst>
                    <a:ext uri="{9D8B030D-6E8A-4147-A177-3AD203B41FA5}">
                      <a16:colId xmlns:a16="http://schemas.microsoft.com/office/drawing/2014/main" val="4210253042"/>
                    </a:ext>
                  </a:extLst>
                </a:gridCol>
                <a:gridCol w="295492">
                  <a:extLst>
                    <a:ext uri="{9D8B030D-6E8A-4147-A177-3AD203B41FA5}">
                      <a16:colId xmlns:a16="http://schemas.microsoft.com/office/drawing/2014/main" val="895787419"/>
                    </a:ext>
                  </a:extLst>
                </a:gridCol>
                <a:gridCol w="295492">
                  <a:extLst>
                    <a:ext uri="{9D8B030D-6E8A-4147-A177-3AD203B41FA5}">
                      <a16:colId xmlns:a16="http://schemas.microsoft.com/office/drawing/2014/main" val="3828388578"/>
                    </a:ext>
                  </a:extLst>
                </a:gridCol>
                <a:gridCol w="295492">
                  <a:extLst>
                    <a:ext uri="{9D8B030D-6E8A-4147-A177-3AD203B41FA5}">
                      <a16:colId xmlns:a16="http://schemas.microsoft.com/office/drawing/2014/main" val="742550205"/>
                    </a:ext>
                  </a:extLst>
                </a:gridCol>
                <a:gridCol w="295492">
                  <a:extLst>
                    <a:ext uri="{9D8B030D-6E8A-4147-A177-3AD203B41FA5}">
                      <a16:colId xmlns:a16="http://schemas.microsoft.com/office/drawing/2014/main" val="1408879461"/>
                    </a:ext>
                  </a:extLst>
                </a:gridCol>
              </a:tblGrid>
              <a:tr h="251292">
                <a:tc>
                  <a:txBody>
                    <a:bodyPr/>
                    <a:lstStyle/>
                    <a:p>
                      <a:r>
                        <a:rPr lang="en-US" sz="800" b="1" i="0" dirty="0">
                          <a:solidFill>
                            <a:schemeClr val="bg1"/>
                          </a:solidFill>
                          <a:latin typeface="+mj-lt"/>
                        </a:rPr>
                        <a:t>Sales </a:t>
                      </a:r>
                      <a:r>
                        <a:rPr lang="en-US" sz="800" b="1" i="0">
                          <a:solidFill>
                            <a:schemeClr val="bg1"/>
                          </a:solidFill>
                          <a:latin typeface="+mj-lt"/>
                        </a:rPr>
                        <a:t>Vs. 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rPr dirty="0"/>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rPr dirty="0"/>
                        <a:t>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helf </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Price</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Unit</a:t>
            </a:r>
          </a:p>
          <a:p>
            <a:pPr marL="0" marR="0" lvl="0" indent="0" defTabSz="685749"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Nexa Bold" panose="00000800000000000000" pitchFamily="2" charset="0"/>
              </a:rPr>
              <a:t>(</a:t>
            </a:r>
            <a:r>
              <a:rPr lang="en-US" sz="800" dirty="0">
                <a:solidFill>
                  <a:schemeClr val="tx1"/>
                </a:solidFill>
                <a:highlight>
                  <a:srgbClr val="FFFF00"/>
                </a:highlight>
                <a:latin typeface="Nexa Bold" panose="00000800000000000000" pitchFamily="2" charset="0"/>
              </a:rPr>
              <a:t>€</a:t>
            </a:r>
            <a:r>
              <a:rPr lang="en-US" sz="800" dirty="0">
                <a:solidFill>
                  <a:schemeClr val="tx1"/>
                </a:solidFill>
                <a:latin typeface="Nexa Bold" panose="00000800000000000000" pitchFamily="2" charset="0"/>
              </a:rPr>
              <a:t>)</a:t>
            </a:r>
            <a:endPar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endParaRP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Value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ales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M)</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8/11/2025</a:t>
            </a:fld>
            <a:endParaRPr lang="en-US" sz="500"/>
          </a:p>
        </p:txBody>
      </p:sp>
    </p:spTree>
    <p:extLst>
      <p:ext uri="{BB962C8B-B14F-4D97-AF65-F5344CB8AC3E}">
        <p14:creationId xmlns:p14="http://schemas.microsoft.com/office/powerpoint/2010/main" val="259208214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r>
              <a:rPr lang="en-US" dirty="0"/>
              <a:t>Inter-size Discount  | </a:t>
            </a:r>
            <a:r>
              <a:rPr lang="en-US" dirty="0">
                <a:highlight>
                  <a:srgbClr val="FFFF00"/>
                </a:highlight>
              </a:rPr>
              <a:t>Variant</a:t>
            </a:r>
            <a:r>
              <a:rPr lang="en-US" dirty="0"/>
              <a:t> | </a:t>
            </a:r>
            <a:r>
              <a:rPr lang="en-US" dirty="0">
                <a:highlight>
                  <a:srgbClr val="FFFF00"/>
                </a:highlight>
              </a:rPr>
              <a:t>National</a:t>
            </a:r>
            <a:r>
              <a:rPr lang="en-US" dirty="0"/>
              <a:t> | P12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2800073758"/>
              </p:ext>
            </p:extLst>
          </p:nvPr>
        </p:nvGraphicFramePr>
        <p:xfrm>
          <a:off x="555229" y="4265104"/>
          <a:ext cx="7441138"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95492">
                  <a:extLst>
                    <a:ext uri="{9D8B030D-6E8A-4147-A177-3AD203B41FA5}">
                      <a16:colId xmlns:a16="http://schemas.microsoft.com/office/drawing/2014/main" val="2253286919"/>
                    </a:ext>
                  </a:extLst>
                </a:gridCol>
                <a:gridCol w="295492">
                  <a:extLst>
                    <a:ext uri="{9D8B030D-6E8A-4147-A177-3AD203B41FA5}">
                      <a16:colId xmlns:a16="http://schemas.microsoft.com/office/drawing/2014/main" val="2739285047"/>
                    </a:ext>
                  </a:extLst>
                </a:gridCol>
                <a:gridCol w="295492">
                  <a:extLst>
                    <a:ext uri="{9D8B030D-6E8A-4147-A177-3AD203B41FA5}">
                      <a16:colId xmlns:a16="http://schemas.microsoft.com/office/drawing/2014/main" val="686050863"/>
                    </a:ext>
                  </a:extLst>
                </a:gridCol>
                <a:gridCol w="295492">
                  <a:extLst>
                    <a:ext uri="{9D8B030D-6E8A-4147-A177-3AD203B41FA5}">
                      <a16:colId xmlns:a16="http://schemas.microsoft.com/office/drawing/2014/main" val="3765127706"/>
                    </a:ext>
                  </a:extLst>
                </a:gridCol>
                <a:gridCol w="295492">
                  <a:extLst>
                    <a:ext uri="{9D8B030D-6E8A-4147-A177-3AD203B41FA5}">
                      <a16:colId xmlns:a16="http://schemas.microsoft.com/office/drawing/2014/main" val="273303937"/>
                    </a:ext>
                  </a:extLst>
                </a:gridCol>
                <a:gridCol w="295492">
                  <a:extLst>
                    <a:ext uri="{9D8B030D-6E8A-4147-A177-3AD203B41FA5}">
                      <a16:colId xmlns:a16="http://schemas.microsoft.com/office/drawing/2014/main" val="1190134658"/>
                    </a:ext>
                  </a:extLst>
                </a:gridCol>
                <a:gridCol w="295492">
                  <a:extLst>
                    <a:ext uri="{9D8B030D-6E8A-4147-A177-3AD203B41FA5}">
                      <a16:colId xmlns:a16="http://schemas.microsoft.com/office/drawing/2014/main" val="1152288185"/>
                    </a:ext>
                  </a:extLst>
                </a:gridCol>
                <a:gridCol w="295492">
                  <a:extLst>
                    <a:ext uri="{9D8B030D-6E8A-4147-A177-3AD203B41FA5}">
                      <a16:colId xmlns:a16="http://schemas.microsoft.com/office/drawing/2014/main" val="1888319813"/>
                    </a:ext>
                  </a:extLst>
                </a:gridCol>
                <a:gridCol w="295492">
                  <a:extLst>
                    <a:ext uri="{9D8B030D-6E8A-4147-A177-3AD203B41FA5}">
                      <a16:colId xmlns:a16="http://schemas.microsoft.com/office/drawing/2014/main" val="3471064540"/>
                    </a:ext>
                  </a:extLst>
                </a:gridCol>
                <a:gridCol w="295492">
                  <a:extLst>
                    <a:ext uri="{9D8B030D-6E8A-4147-A177-3AD203B41FA5}">
                      <a16:colId xmlns:a16="http://schemas.microsoft.com/office/drawing/2014/main" val="670551899"/>
                    </a:ext>
                  </a:extLst>
                </a:gridCol>
                <a:gridCol w="295492">
                  <a:extLst>
                    <a:ext uri="{9D8B030D-6E8A-4147-A177-3AD203B41FA5}">
                      <a16:colId xmlns:a16="http://schemas.microsoft.com/office/drawing/2014/main" val="1100152168"/>
                    </a:ext>
                  </a:extLst>
                </a:gridCol>
                <a:gridCol w="295492">
                  <a:extLst>
                    <a:ext uri="{9D8B030D-6E8A-4147-A177-3AD203B41FA5}">
                      <a16:colId xmlns:a16="http://schemas.microsoft.com/office/drawing/2014/main" val="2165801595"/>
                    </a:ext>
                  </a:extLst>
                </a:gridCol>
                <a:gridCol w="295492">
                  <a:extLst>
                    <a:ext uri="{9D8B030D-6E8A-4147-A177-3AD203B41FA5}">
                      <a16:colId xmlns:a16="http://schemas.microsoft.com/office/drawing/2014/main" val="3981167565"/>
                    </a:ext>
                  </a:extLst>
                </a:gridCol>
                <a:gridCol w="295492">
                  <a:extLst>
                    <a:ext uri="{9D8B030D-6E8A-4147-A177-3AD203B41FA5}">
                      <a16:colId xmlns:a16="http://schemas.microsoft.com/office/drawing/2014/main" val="2740792325"/>
                    </a:ext>
                  </a:extLst>
                </a:gridCol>
                <a:gridCol w="295492">
                  <a:extLst>
                    <a:ext uri="{9D8B030D-6E8A-4147-A177-3AD203B41FA5}">
                      <a16:colId xmlns:a16="http://schemas.microsoft.com/office/drawing/2014/main" val="54782936"/>
                    </a:ext>
                  </a:extLst>
                </a:gridCol>
                <a:gridCol w="295492">
                  <a:extLst>
                    <a:ext uri="{9D8B030D-6E8A-4147-A177-3AD203B41FA5}">
                      <a16:colId xmlns:a16="http://schemas.microsoft.com/office/drawing/2014/main" val="154020430"/>
                    </a:ext>
                  </a:extLst>
                </a:gridCol>
                <a:gridCol w="295492">
                  <a:extLst>
                    <a:ext uri="{9D8B030D-6E8A-4147-A177-3AD203B41FA5}">
                      <a16:colId xmlns:a16="http://schemas.microsoft.com/office/drawing/2014/main" val="3928813835"/>
                    </a:ext>
                  </a:extLst>
                </a:gridCol>
                <a:gridCol w="295492">
                  <a:extLst>
                    <a:ext uri="{9D8B030D-6E8A-4147-A177-3AD203B41FA5}">
                      <a16:colId xmlns:a16="http://schemas.microsoft.com/office/drawing/2014/main" val="4210253042"/>
                    </a:ext>
                  </a:extLst>
                </a:gridCol>
                <a:gridCol w="295492">
                  <a:extLst>
                    <a:ext uri="{9D8B030D-6E8A-4147-A177-3AD203B41FA5}">
                      <a16:colId xmlns:a16="http://schemas.microsoft.com/office/drawing/2014/main" val="895787419"/>
                    </a:ext>
                  </a:extLst>
                </a:gridCol>
                <a:gridCol w="295492">
                  <a:extLst>
                    <a:ext uri="{9D8B030D-6E8A-4147-A177-3AD203B41FA5}">
                      <a16:colId xmlns:a16="http://schemas.microsoft.com/office/drawing/2014/main" val="3828388578"/>
                    </a:ext>
                  </a:extLst>
                </a:gridCol>
                <a:gridCol w="295492">
                  <a:extLst>
                    <a:ext uri="{9D8B030D-6E8A-4147-A177-3AD203B41FA5}">
                      <a16:colId xmlns:a16="http://schemas.microsoft.com/office/drawing/2014/main" val="742550205"/>
                    </a:ext>
                  </a:extLst>
                </a:gridCol>
                <a:gridCol w="295492">
                  <a:extLst>
                    <a:ext uri="{9D8B030D-6E8A-4147-A177-3AD203B41FA5}">
                      <a16:colId xmlns:a16="http://schemas.microsoft.com/office/drawing/2014/main" val="1408879461"/>
                    </a:ext>
                  </a:extLst>
                </a:gridCol>
              </a:tblGrid>
              <a:tr h="251292">
                <a:tc>
                  <a:txBody>
                    <a:bodyPr/>
                    <a:lstStyle/>
                    <a:p>
                      <a:r>
                        <a:rPr lang="en-US" sz="800" b="1" i="0" dirty="0">
                          <a:solidFill>
                            <a:schemeClr val="bg1"/>
                          </a:solidFill>
                          <a:latin typeface="+mj-lt"/>
                        </a:rPr>
                        <a:t>Sales </a:t>
                      </a:r>
                      <a:r>
                        <a:rPr lang="en-US" sz="800" b="1" i="0">
                          <a:solidFill>
                            <a:schemeClr val="bg1"/>
                          </a:solidFill>
                          <a:latin typeface="+mj-lt"/>
                        </a:rPr>
                        <a:t>Vs. 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rPr dirty="0"/>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rPr dirty="0"/>
                        <a:t>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helf </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Price</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Unit</a:t>
            </a:r>
          </a:p>
          <a:p>
            <a:pPr marL="0" marR="0" lvl="0" indent="0" defTabSz="685749"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Nexa Bold" panose="00000800000000000000" pitchFamily="2" charset="0"/>
              </a:rPr>
              <a:t>(</a:t>
            </a:r>
            <a:r>
              <a:rPr lang="en-US" sz="800" dirty="0">
                <a:solidFill>
                  <a:schemeClr val="tx1"/>
                </a:solidFill>
                <a:highlight>
                  <a:srgbClr val="FFFF00"/>
                </a:highlight>
                <a:latin typeface="Nexa Bold" panose="00000800000000000000" pitchFamily="2" charset="0"/>
              </a:rPr>
              <a:t>€</a:t>
            </a:r>
            <a:r>
              <a:rPr lang="en-US" sz="800" dirty="0">
                <a:solidFill>
                  <a:schemeClr val="tx1"/>
                </a:solidFill>
                <a:latin typeface="Nexa Bold" panose="00000800000000000000" pitchFamily="2" charset="0"/>
              </a:rPr>
              <a:t>)</a:t>
            </a:r>
            <a:endPar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endParaRP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Value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ales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M)</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8/11/2025</a:t>
            </a:fld>
            <a:endParaRPr lang="en-US" sz="500"/>
          </a:p>
        </p:txBody>
      </p:sp>
    </p:spTree>
    <p:extLst>
      <p:ext uri="{BB962C8B-B14F-4D97-AF65-F5344CB8AC3E}">
        <p14:creationId xmlns:p14="http://schemas.microsoft.com/office/powerpoint/2010/main" val="2179708740"/>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3</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r>
              <a:rPr lang="en-US" dirty="0"/>
              <a:t>Inter-size Discount  | </a:t>
            </a:r>
            <a:r>
              <a:rPr lang="en-US" dirty="0">
                <a:highlight>
                  <a:srgbClr val="FFFF00"/>
                </a:highlight>
              </a:rPr>
              <a:t>Variant</a:t>
            </a:r>
            <a:r>
              <a:rPr lang="en-US" dirty="0"/>
              <a:t> | </a:t>
            </a:r>
            <a:r>
              <a:rPr lang="en-US" dirty="0">
                <a:highlight>
                  <a:srgbClr val="FFFF00"/>
                </a:highlight>
              </a:rPr>
              <a:t>National</a:t>
            </a:r>
            <a:r>
              <a:rPr lang="en-US" dirty="0"/>
              <a:t> | P12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2800073758"/>
              </p:ext>
            </p:extLst>
          </p:nvPr>
        </p:nvGraphicFramePr>
        <p:xfrm>
          <a:off x="555229" y="4265104"/>
          <a:ext cx="7441138"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95492">
                  <a:extLst>
                    <a:ext uri="{9D8B030D-6E8A-4147-A177-3AD203B41FA5}">
                      <a16:colId xmlns:a16="http://schemas.microsoft.com/office/drawing/2014/main" val="2253286919"/>
                    </a:ext>
                  </a:extLst>
                </a:gridCol>
                <a:gridCol w="295492">
                  <a:extLst>
                    <a:ext uri="{9D8B030D-6E8A-4147-A177-3AD203B41FA5}">
                      <a16:colId xmlns:a16="http://schemas.microsoft.com/office/drawing/2014/main" val="2739285047"/>
                    </a:ext>
                  </a:extLst>
                </a:gridCol>
                <a:gridCol w="295492">
                  <a:extLst>
                    <a:ext uri="{9D8B030D-6E8A-4147-A177-3AD203B41FA5}">
                      <a16:colId xmlns:a16="http://schemas.microsoft.com/office/drawing/2014/main" val="686050863"/>
                    </a:ext>
                  </a:extLst>
                </a:gridCol>
                <a:gridCol w="295492">
                  <a:extLst>
                    <a:ext uri="{9D8B030D-6E8A-4147-A177-3AD203B41FA5}">
                      <a16:colId xmlns:a16="http://schemas.microsoft.com/office/drawing/2014/main" val="3765127706"/>
                    </a:ext>
                  </a:extLst>
                </a:gridCol>
                <a:gridCol w="295492">
                  <a:extLst>
                    <a:ext uri="{9D8B030D-6E8A-4147-A177-3AD203B41FA5}">
                      <a16:colId xmlns:a16="http://schemas.microsoft.com/office/drawing/2014/main" val="273303937"/>
                    </a:ext>
                  </a:extLst>
                </a:gridCol>
                <a:gridCol w="295492">
                  <a:extLst>
                    <a:ext uri="{9D8B030D-6E8A-4147-A177-3AD203B41FA5}">
                      <a16:colId xmlns:a16="http://schemas.microsoft.com/office/drawing/2014/main" val="1190134658"/>
                    </a:ext>
                  </a:extLst>
                </a:gridCol>
                <a:gridCol w="295492">
                  <a:extLst>
                    <a:ext uri="{9D8B030D-6E8A-4147-A177-3AD203B41FA5}">
                      <a16:colId xmlns:a16="http://schemas.microsoft.com/office/drawing/2014/main" val="1152288185"/>
                    </a:ext>
                  </a:extLst>
                </a:gridCol>
                <a:gridCol w="295492">
                  <a:extLst>
                    <a:ext uri="{9D8B030D-6E8A-4147-A177-3AD203B41FA5}">
                      <a16:colId xmlns:a16="http://schemas.microsoft.com/office/drawing/2014/main" val="1888319813"/>
                    </a:ext>
                  </a:extLst>
                </a:gridCol>
                <a:gridCol w="295492">
                  <a:extLst>
                    <a:ext uri="{9D8B030D-6E8A-4147-A177-3AD203B41FA5}">
                      <a16:colId xmlns:a16="http://schemas.microsoft.com/office/drawing/2014/main" val="3471064540"/>
                    </a:ext>
                  </a:extLst>
                </a:gridCol>
                <a:gridCol w="295492">
                  <a:extLst>
                    <a:ext uri="{9D8B030D-6E8A-4147-A177-3AD203B41FA5}">
                      <a16:colId xmlns:a16="http://schemas.microsoft.com/office/drawing/2014/main" val="670551899"/>
                    </a:ext>
                  </a:extLst>
                </a:gridCol>
                <a:gridCol w="295492">
                  <a:extLst>
                    <a:ext uri="{9D8B030D-6E8A-4147-A177-3AD203B41FA5}">
                      <a16:colId xmlns:a16="http://schemas.microsoft.com/office/drawing/2014/main" val="1100152168"/>
                    </a:ext>
                  </a:extLst>
                </a:gridCol>
                <a:gridCol w="295492">
                  <a:extLst>
                    <a:ext uri="{9D8B030D-6E8A-4147-A177-3AD203B41FA5}">
                      <a16:colId xmlns:a16="http://schemas.microsoft.com/office/drawing/2014/main" val="2165801595"/>
                    </a:ext>
                  </a:extLst>
                </a:gridCol>
                <a:gridCol w="295492">
                  <a:extLst>
                    <a:ext uri="{9D8B030D-6E8A-4147-A177-3AD203B41FA5}">
                      <a16:colId xmlns:a16="http://schemas.microsoft.com/office/drawing/2014/main" val="3981167565"/>
                    </a:ext>
                  </a:extLst>
                </a:gridCol>
                <a:gridCol w="295492">
                  <a:extLst>
                    <a:ext uri="{9D8B030D-6E8A-4147-A177-3AD203B41FA5}">
                      <a16:colId xmlns:a16="http://schemas.microsoft.com/office/drawing/2014/main" val="2740792325"/>
                    </a:ext>
                  </a:extLst>
                </a:gridCol>
                <a:gridCol w="295492">
                  <a:extLst>
                    <a:ext uri="{9D8B030D-6E8A-4147-A177-3AD203B41FA5}">
                      <a16:colId xmlns:a16="http://schemas.microsoft.com/office/drawing/2014/main" val="54782936"/>
                    </a:ext>
                  </a:extLst>
                </a:gridCol>
                <a:gridCol w="295492">
                  <a:extLst>
                    <a:ext uri="{9D8B030D-6E8A-4147-A177-3AD203B41FA5}">
                      <a16:colId xmlns:a16="http://schemas.microsoft.com/office/drawing/2014/main" val="154020430"/>
                    </a:ext>
                  </a:extLst>
                </a:gridCol>
                <a:gridCol w="295492">
                  <a:extLst>
                    <a:ext uri="{9D8B030D-6E8A-4147-A177-3AD203B41FA5}">
                      <a16:colId xmlns:a16="http://schemas.microsoft.com/office/drawing/2014/main" val="3928813835"/>
                    </a:ext>
                  </a:extLst>
                </a:gridCol>
                <a:gridCol w="295492">
                  <a:extLst>
                    <a:ext uri="{9D8B030D-6E8A-4147-A177-3AD203B41FA5}">
                      <a16:colId xmlns:a16="http://schemas.microsoft.com/office/drawing/2014/main" val="4210253042"/>
                    </a:ext>
                  </a:extLst>
                </a:gridCol>
                <a:gridCol w="295492">
                  <a:extLst>
                    <a:ext uri="{9D8B030D-6E8A-4147-A177-3AD203B41FA5}">
                      <a16:colId xmlns:a16="http://schemas.microsoft.com/office/drawing/2014/main" val="895787419"/>
                    </a:ext>
                  </a:extLst>
                </a:gridCol>
                <a:gridCol w="295492">
                  <a:extLst>
                    <a:ext uri="{9D8B030D-6E8A-4147-A177-3AD203B41FA5}">
                      <a16:colId xmlns:a16="http://schemas.microsoft.com/office/drawing/2014/main" val="3828388578"/>
                    </a:ext>
                  </a:extLst>
                </a:gridCol>
                <a:gridCol w="295492">
                  <a:extLst>
                    <a:ext uri="{9D8B030D-6E8A-4147-A177-3AD203B41FA5}">
                      <a16:colId xmlns:a16="http://schemas.microsoft.com/office/drawing/2014/main" val="742550205"/>
                    </a:ext>
                  </a:extLst>
                </a:gridCol>
                <a:gridCol w="295492">
                  <a:extLst>
                    <a:ext uri="{9D8B030D-6E8A-4147-A177-3AD203B41FA5}">
                      <a16:colId xmlns:a16="http://schemas.microsoft.com/office/drawing/2014/main" val="1408879461"/>
                    </a:ext>
                  </a:extLst>
                </a:gridCol>
              </a:tblGrid>
              <a:tr h="251292">
                <a:tc>
                  <a:txBody>
                    <a:bodyPr/>
                    <a:lstStyle/>
                    <a:p>
                      <a:r>
                        <a:rPr lang="en-US" sz="800" b="1" i="0" dirty="0">
                          <a:solidFill>
                            <a:schemeClr val="bg1"/>
                          </a:solidFill>
                          <a:latin typeface="+mj-lt"/>
                        </a:rPr>
                        <a:t>Sales </a:t>
                      </a:r>
                      <a:r>
                        <a:rPr lang="en-US" sz="800" b="1" i="0">
                          <a:solidFill>
                            <a:schemeClr val="bg1"/>
                          </a:solidFill>
                          <a:latin typeface="+mj-lt"/>
                        </a:rPr>
                        <a:t>Vs. 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rPr dirty="0"/>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rPr dirty="0"/>
                        <a:t>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helf </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Price</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Unit</a:t>
            </a:r>
          </a:p>
          <a:p>
            <a:pPr marL="0" marR="0" lvl="0" indent="0" defTabSz="685749"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Nexa Bold" panose="00000800000000000000" pitchFamily="2" charset="0"/>
              </a:rPr>
              <a:t>(</a:t>
            </a:r>
            <a:r>
              <a:rPr lang="en-US" sz="800" dirty="0">
                <a:solidFill>
                  <a:schemeClr val="tx1"/>
                </a:solidFill>
                <a:highlight>
                  <a:srgbClr val="FFFF00"/>
                </a:highlight>
                <a:latin typeface="Nexa Bold" panose="00000800000000000000" pitchFamily="2" charset="0"/>
              </a:rPr>
              <a:t>€</a:t>
            </a:r>
            <a:r>
              <a:rPr lang="en-US" sz="800" dirty="0">
                <a:solidFill>
                  <a:schemeClr val="tx1"/>
                </a:solidFill>
                <a:latin typeface="Nexa Bold" panose="00000800000000000000" pitchFamily="2" charset="0"/>
              </a:rPr>
              <a:t>)</a:t>
            </a:r>
            <a:endPar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endParaRP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Value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ales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M)</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8/11/2025</a:t>
            </a:fld>
            <a:endParaRPr lang="en-US" sz="500"/>
          </a:p>
        </p:txBody>
      </p:sp>
    </p:spTree>
    <p:extLst>
      <p:ext uri="{BB962C8B-B14F-4D97-AF65-F5344CB8AC3E}">
        <p14:creationId xmlns:p14="http://schemas.microsoft.com/office/powerpoint/2010/main" val="3005242198"/>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4</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r>
              <a:rPr lang="en-US" dirty="0"/>
              <a:t>Inter-size Discount  | </a:t>
            </a:r>
            <a:r>
              <a:rPr lang="en-US" dirty="0">
                <a:highlight>
                  <a:srgbClr val="FFFF00"/>
                </a:highlight>
              </a:rPr>
              <a:t>Variant</a:t>
            </a:r>
            <a:r>
              <a:rPr lang="en-US" dirty="0"/>
              <a:t> | </a:t>
            </a:r>
            <a:r>
              <a:rPr lang="en-US" dirty="0">
                <a:highlight>
                  <a:srgbClr val="FFFF00"/>
                </a:highlight>
              </a:rPr>
              <a:t>National</a:t>
            </a:r>
            <a:r>
              <a:rPr lang="en-US" dirty="0"/>
              <a:t> | P12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2800073758"/>
              </p:ext>
            </p:extLst>
          </p:nvPr>
        </p:nvGraphicFramePr>
        <p:xfrm>
          <a:off x="555229" y="4265104"/>
          <a:ext cx="7441138"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95492">
                  <a:extLst>
                    <a:ext uri="{9D8B030D-6E8A-4147-A177-3AD203B41FA5}">
                      <a16:colId xmlns:a16="http://schemas.microsoft.com/office/drawing/2014/main" val="2253286919"/>
                    </a:ext>
                  </a:extLst>
                </a:gridCol>
                <a:gridCol w="295492">
                  <a:extLst>
                    <a:ext uri="{9D8B030D-6E8A-4147-A177-3AD203B41FA5}">
                      <a16:colId xmlns:a16="http://schemas.microsoft.com/office/drawing/2014/main" val="2739285047"/>
                    </a:ext>
                  </a:extLst>
                </a:gridCol>
                <a:gridCol w="295492">
                  <a:extLst>
                    <a:ext uri="{9D8B030D-6E8A-4147-A177-3AD203B41FA5}">
                      <a16:colId xmlns:a16="http://schemas.microsoft.com/office/drawing/2014/main" val="686050863"/>
                    </a:ext>
                  </a:extLst>
                </a:gridCol>
                <a:gridCol w="295492">
                  <a:extLst>
                    <a:ext uri="{9D8B030D-6E8A-4147-A177-3AD203B41FA5}">
                      <a16:colId xmlns:a16="http://schemas.microsoft.com/office/drawing/2014/main" val="3765127706"/>
                    </a:ext>
                  </a:extLst>
                </a:gridCol>
                <a:gridCol w="295492">
                  <a:extLst>
                    <a:ext uri="{9D8B030D-6E8A-4147-A177-3AD203B41FA5}">
                      <a16:colId xmlns:a16="http://schemas.microsoft.com/office/drawing/2014/main" val="273303937"/>
                    </a:ext>
                  </a:extLst>
                </a:gridCol>
                <a:gridCol w="295492">
                  <a:extLst>
                    <a:ext uri="{9D8B030D-6E8A-4147-A177-3AD203B41FA5}">
                      <a16:colId xmlns:a16="http://schemas.microsoft.com/office/drawing/2014/main" val="1190134658"/>
                    </a:ext>
                  </a:extLst>
                </a:gridCol>
                <a:gridCol w="295492">
                  <a:extLst>
                    <a:ext uri="{9D8B030D-6E8A-4147-A177-3AD203B41FA5}">
                      <a16:colId xmlns:a16="http://schemas.microsoft.com/office/drawing/2014/main" val="1152288185"/>
                    </a:ext>
                  </a:extLst>
                </a:gridCol>
                <a:gridCol w="295492">
                  <a:extLst>
                    <a:ext uri="{9D8B030D-6E8A-4147-A177-3AD203B41FA5}">
                      <a16:colId xmlns:a16="http://schemas.microsoft.com/office/drawing/2014/main" val="1888319813"/>
                    </a:ext>
                  </a:extLst>
                </a:gridCol>
                <a:gridCol w="295492">
                  <a:extLst>
                    <a:ext uri="{9D8B030D-6E8A-4147-A177-3AD203B41FA5}">
                      <a16:colId xmlns:a16="http://schemas.microsoft.com/office/drawing/2014/main" val="3471064540"/>
                    </a:ext>
                  </a:extLst>
                </a:gridCol>
                <a:gridCol w="295492">
                  <a:extLst>
                    <a:ext uri="{9D8B030D-6E8A-4147-A177-3AD203B41FA5}">
                      <a16:colId xmlns:a16="http://schemas.microsoft.com/office/drawing/2014/main" val="670551899"/>
                    </a:ext>
                  </a:extLst>
                </a:gridCol>
                <a:gridCol w="295492">
                  <a:extLst>
                    <a:ext uri="{9D8B030D-6E8A-4147-A177-3AD203B41FA5}">
                      <a16:colId xmlns:a16="http://schemas.microsoft.com/office/drawing/2014/main" val="1100152168"/>
                    </a:ext>
                  </a:extLst>
                </a:gridCol>
                <a:gridCol w="295492">
                  <a:extLst>
                    <a:ext uri="{9D8B030D-6E8A-4147-A177-3AD203B41FA5}">
                      <a16:colId xmlns:a16="http://schemas.microsoft.com/office/drawing/2014/main" val="2165801595"/>
                    </a:ext>
                  </a:extLst>
                </a:gridCol>
                <a:gridCol w="295492">
                  <a:extLst>
                    <a:ext uri="{9D8B030D-6E8A-4147-A177-3AD203B41FA5}">
                      <a16:colId xmlns:a16="http://schemas.microsoft.com/office/drawing/2014/main" val="3981167565"/>
                    </a:ext>
                  </a:extLst>
                </a:gridCol>
                <a:gridCol w="295492">
                  <a:extLst>
                    <a:ext uri="{9D8B030D-6E8A-4147-A177-3AD203B41FA5}">
                      <a16:colId xmlns:a16="http://schemas.microsoft.com/office/drawing/2014/main" val="2740792325"/>
                    </a:ext>
                  </a:extLst>
                </a:gridCol>
                <a:gridCol w="295492">
                  <a:extLst>
                    <a:ext uri="{9D8B030D-6E8A-4147-A177-3AD203B41FA5}">
                      <a16:colId xmlns:a16="http://schemas.microsoft.com/office/drawing/2014/main" val="54782936"/>
                    </a:ext>
                  </a:extLst>
                </a:gridCol>
                <a:gridCol w="295492">
                  <a:extLst>
                    <a:ext uri="{9D8B030D-6E8A-4147-A177-3AD203B41FA5}">
                      <a16:colId xmlns:a16="http://schemas.microsoft.com/office/drawing/2014/main" val="154020430"/>
                    </a:ext>
                  </a:extLst>
                </a:gridCol>
                <a:gridCol w="295492">
                  <a:extLst>
                    <a:ext uri="{9D8B030D-6E8A-4147-A177-3AD203B41FA5}">
                      <a16:colId xmlns:a16="http://schemas.microsoft.com/office/drawing/2014/main" val="3928813835"/>
                    </a:ext>
                  </a:extLst>
                </a:gridCol>
                <a:gridCol w="295492">
                  <a:extLst>
                    <a:ext uri="{9D8B030D-6E8A-4147-A177-3AD203B41FA5}">
                      <a16:colId xmlns:a16="http://schemas.microsoft.com/office/drawing/2014/main" val="4210253042"/>
                    </a:ext>
                  </a:extLst>
                </a:gridCol>
                <a:gridCol w="295492">
                  <a:extLst>
                    <a:ext uri="{9D8B030D-6E8A-4147-A177-3AD203B41FA5}">
                      <a16:colId xmlns:a16="http://schemas.microsoft.com/office/drawing/2014/main" val="895787419"/>
                    </a:ext>
                  </a:extLst>
                </a:gridCol>
                <a:gridCol w="295492">
                  <a:extLst>
                    <a:ext uri="{9D8B030D-6E8A-4147-A177-3AD203B41FA5}">
                      <a16:colId xmlns:a16="http://schemas.microsoft.com/office/drawing/2014/main" val="3828388578"/>
                    </a:ext>
                  </a:extLst>
                </a:gridCol>
                <a:gridCol w="295492">
                  <a:extLst>
                    <a:ext uri="{9D8B030D-6E8A-4147-A177-3AD203B41FA5}">
                      <a16:colId xmlns:a16="http://schemas.microsoft.com/office/drawing/2014/main" val="742550205"/>
                    </a:ext>
                  </a:extLst>
                </a:gridCol>
                <a:gridCol w="295492">
                  <a:extLst>
                    <a:ext uri="{9D8B030D-6E8A-4147-A177-3AD203B41FA5}">
                      <a16:colId xmlns:a16="http://schemas.microsoft.com/office/drawing/2014/main" val="1408879461"/>
                    </a:ext>
                  </a:extLst>
                </a:gridCol>
              </a:tblGrid>
              <a:tr h="251292">
                <a:tc>
                  <a:txBody>
                    <a:bodyPr/>
                    <a:lstStyle/>
                    <a:p>
                      <a:r>
                        <a:rPr lang="en-US" sz="800" b="1" i="0" dirty="0">
                          <a:solidFill>
                            <a:schemeClr val="bg1"/>
                          </a:solidFill>
                          <a:latin typeface="+mj-lt"/>
                        </a:rPr>
                        <a:t>Sales </a:t>
                      </a:r>
                      <a:r>
                        <a:rPr lang="en-US" sz="800" b="1" i="0">
                          <a:solidFill>
                            <a:schemeClr val="bg1"/>
                          </a:solidFill>
                          <a:latin typeface="+mj-lt"/>
                        </a:rPr>
                        <a:t>Vs. 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rPr dirty="0"/>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rPr dirty="0"/>
                        <a:t>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helf </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Price</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Unit</a:t>
            </a:r>
          </a:p>
          <a:p>
            <a:pPr marL="0" marR="0" lvl="0" indent="0" defTabSz="685749"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Nexa Bold" panose="00000800000000000000" pitchFamily="2" charset="0"/>
              </a:rPr>
              <a:t>(</a:t>
            </a:r>
            <a:r>
              <a:rPr lang="en-US" sz="800" dirty="0">
                <a:solidFill>
                  <a:schemeClr val="tx1"/>
                </a:solidFill>
                <a:highlight>
                  <a:srgbClr val="FFFF00"/>
                </a:highlight>
                <a:latin typeface="Nexa Bold" panose="00000800000000000000" pitchFamily="2" charset="0"/>
              </a:rPr>
              <a:t>€</a:t>
            </a:r>
            <a:r>
              <a:rPr lang="en-US" sz="800" dirty="0">
                <a:solidFill>
                  <a:schemeClr val="tx1"/>
                </a:solidFill>
                <a:latin typeface="Nexa Bold" panose="00000800000000000000" pitchFamily="2" charset="0"/>
              </a:rPr>
              <a:t>)</a:t>
            </a:r>
            <a:endPar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endParaRP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Value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ales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M)</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8/11/2025</a:t>
            </a:fld>
            <a:endParaRPr lang="en-US" sz="500"/>
          </a:p>
        </p:txBody>
      </p:sp>
    </p:spTree>
    <p:extLst>
      <p:ext uri="{BB962C8B-B14F-4D97-AF65-F5344CB8AC3E}">
        <p14:creationId xmlns:p14="http://schemas.microsoft.com/office/powerpoint/2010/main" val="2965446817"/>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5</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r>
              <a:rPr lang="en-US" dirty="0"/>
              <a:t>Inter-size Discount  | </a:t>
            </a:r>
            <a:r>
              <a:rPr lang="en-US" dirty="0">
                <a:highlight>
                  <a:srgbClr val="FFFF00"/>
                </a:highlight>
              </a:rPr>
              <a:t>Variant</a:t>
            </a:r>
            <a:r>
              <a:rPr lang="en-US" dirty="0"/>
              <a:t> | </a:t>
            </a:r>
            <a:r>
              <a:rPr lang="en-US" dirty="0">
                <a:highlight>
                  <a:srgbClr val="FFFF00"/>
                </a:highlight>
              </a:rPr>
              <a:t>National</a:t>
            </a:r>
            <a:r>
              <a:rPr lang="en-US" dirty="0"/>
              <a:t> | P12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2800073758"/>
              </p:ext>
            </p:extLst>
          </p:nvPr>
        </p:nvGraphicFramePr>
        <p:xfrm>
          <a:off x="555229" y="4265104"/>
          <a:ext cx="7441138"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95492">
                  <a:extLst>
                    <a:ext uri="{9D8B030D-6E8A-4147-A177-3AD203B41FA5}">
                      <a16:colId xmlns:a16="http://schemas.microsoft.com/office/drawing/2014/main" val="2253286919"/>
                    </a:ext>
                  </a:extLst>
                </a:gridCol>
                <a:gridCol w="295492">
                  <a:extLst>
                    <a:ext uri="{9D8B030D-6E8A-4147-A177-3AD203B41FA5}">
                      <a16:colId xmlns:a16="http://schemas.microsoft.com/office/drawing/2014/main" val="2739285047"/>
                    </a:ext>
                  </a:extLst>
                </a:gridCol>
                <a:gridCol w="295492">
                  <a:extLst>
                    <a:ext uri="{9D8B030D-6E8A-4147-A177-3AD203B41FA5}">
                      <a16:colId xmlns:a16="http://schemas.microsoft.com/office/drawing/2014/main" val="686050863"/>
                    </a:ext>
                  </a:extLst>
                </a:gridCol>
                <a:gridCol w="295492">
                  <a:extLst>
                    <a:ext uri="{9D8B030D-6E8A-4147-A177-3AD203B41FA5}">
                      <a16:colId xmlns:a16="http://schemas.microsoft.com/office/drawing/2014/main" val="3765127706"/>
                    </a:ext>
                  </a:extLst>
                </a:gridCol>
                <a:gridCol w="295492">
                  <a:extLst>
                    <a:ext uri="{9D8B030D-6E8A-4147-A177-3AD203B41FA5}">
                      <a16:colId xmlns:a16="http://schemas.microsoft.com/office/drawing/2014/main" val="273303937"/>
                    </a:ext>
                  </a:extLst>
                </a:gridCol>
                <a:gridCol w="295492">
                  <a:extLst>
                    <a:ext uri="{9D8B030D-6E8A-4147-A177-3AD203B41FA5}">
                      <a16:colId xmlns:a16="http://schemas.microsoft.com/office/drawing/2014/main" val="1190134658"/>
                    </a:ext>
                  </a:extLst>
                </a:gridCol>
                <a:gridCol w="295492">
                  <a:extLst>
                    <a:ext uri="{9D8B030D-6E8A-4147-A177-3AD203B41FA5}">
                      <a16:colId xmlns:a16="http://schemas.microsoft.com/office/drawing/2014/main" val="1152288185"/>
                    </a:ext>
                  </a:extLst>
                </a:gridCol>
                <a:gridCol w="295492">
                  <a:extLst>
                    <a:ext uri="{9D8B030D-6E8A-4147-A177-3AD203B41FA5}">
                      <a16:colId xmlns:a16="http://schemas.microsoft.com/office/drawing/2014/main" val="1888319813"/>
                    </a:ext>
                  </a:extLst>
                </a:gridCol>
                <a:gridCol w="295492">
                  <a:extLst>
                    <a:ext uri="{9D8B030D-6E8A-4147-A177-3AD203B41FA5}">
                      <a16:colId xmlns:a16="http://schemas.microsoft.com/office/drawing/2014/main" val="3471064540"/>
                    </a:ext>
                  </a:extLst>
                </a:gridCol>
                <a:gridCol w="295492">
                  <a:extLst>
                    <a:ext uri="{9D8B030D-6E8A-4147-A177-3AD203B41FA5}">
                      <a16:colId xmlns:a16="http://schemas.microsoft.com/office/drawing/2014/main" val="670551899"/>
                    </a:ext>
                  </a:extLst>
                </a:gridCol>
                <a:gridCol w="295492">
                  <a:extLst>
                    <a:ext uri="{9D8B030D-6E8A-4147-A177-3AD203B41FA5}">
                      <a16:colId xmlns:a16="http://schemas.microsoft.com/office/drawing/2014/main" val="1100152168"/>
                    </a:ext>
                  </a:extLst>
                </a:gridCol>
                <a:gridCol w="295492">
                  <a:extLst>
                    <a:ext uri="{9D8B030D-6E8A-4147-A177-3AD203B41FA5}">
                      <a16:colId xmlns:a16="http://schemas.microsoft.com/office/drawing/2014/main" val="2165801595"/>
                    </a:ext>
                  </a:extLst>
                </a:gridCol>
                <a:gridCol w="295492">
                  <a:extLst>
                    <a:ext uri="{9D8B030D-6E8A-4147-A177-3AD203B41FA5}">
                      <a16:colId xmlns:a16="http://schemas.microsoft.com/office/drawing/2014/main" val="3981167565"/>
                    </a:ext>
                  </a:extLst>
                </a:gridCol>
                <a:gridCol w="295492">
                  <a:extLst>
                    <a:ext uri="{9D8B030D-6E8A-4147-A177-3AD203B41FA5}">
                      <a16:colId xmlns:a16="http://schemas.microsoft.com/office/drawing/2014/main" val="2740792325"/>
                    </a:ext>
                  </a:extLst>
                </a:gridCol>
                <a:gridCol w="295492">
                  <a:extLst>
                    <a:ext uri="{9D8B030D-6E8A-4147-A177-3AD203B41FA5}">
                      <a16:colId xmlns:a16="http://schemas.microsoft.com/office/drawing/2014/main" val="54782936"/>
                    </a:ext>
                  </a:extLst>
                </a:gridCol>
                <a:gridCol w="295492">
                  <a:extLst>
                    <a:ext uri="{9D8B030D-6E8A-4147-A177-3AD203B41FA5}">
                      <a16:colId xmlns:a16="http://schemas.microsoft.com/office/drawing/2014/main" val="154020430"/>
                    </a:ext>
                  </a:extLst>
                </a:gridCol>
                <a:gridCol w="295492">
                  <a:extLst>
                    <a:ext uri="{9D8B030D-6E8A-4147-A177-3AD203B41FA5}">
                      <a16:colId xmlns:a16="http://schemas.microsoft.com/office/drawing/2014/main" val="3928813835"/>
                    </a:ext>
                  </a:extLst>
                </a:gridCol>
                <a:gridCol w="295492">
                  <a:extLst>
                    <a:ext uri="{9D8B030D-6E8A-4147-A177-3AD203B41FA5}">
                      <a16:colId xmlns:a16="http://schemas.microsoft.com/office/drawing/2014/main" val="4210253042"/>
                    </a:ext>
                  </a:extLst>
                </a:gridCol>
                <a:gridCol w="295492">
                  <a:extLst>
                    <a:ext uri="{9D8B030D-6E8A-4147-A177-3AD203B41FA5}">
                      <a16:colId xmlns:a16="http://schemas.microsoft.com/office/drawing/2014/main" val="895787419"/>
                    </a:ext>
                  </a:extLst>
                </a:gridCol>
                <a:gridCol w="295492">
                  <a:extLst>
                    <a:ext uri="{9D8B030D-6E8A-4147-A177-3AD203B41FA5}">
                      <a16:colId xmlns:a16="http://schemas.microsoft.com/office/drawing/2014/main" val="3828388578"/>
                    </a:ext>
                  </a:extLst>
                </a:gridCol>
                <a:gridCol w="295492">
                  <a:extLst>
                    <a:ext uri="{9D8B030D-6E8A-4147-A177-3AD203B41FA5}">
                      <a16:colId xmlns:a16="http://schemas.microsoft.com/office/drawing/2014/main" val="742550205"/>
                    </a:ext>
                  </a:extLst>
                </a:gridCol>
                <a:gridCol w="295492">
                  <a:extLst>
                    <a:ext uri="{9D8B030D-6E8A-4147-A177-3AD203B41FA5}">
                      <a16:colId xmlns:a16="http://schemas.microsoft.com/office/drawing/2014/main" val="1408879461"/>
                    </a:ext>
                  </a:extLst>
                </a:gridCol>
              </a:tblGrid>
              <a:tr h="251292">
                <a:tc>
                  <a:txBody>
                    <a:bodyPr/>
                    <a:lstStyle/>
                    <a:p>
                      <a:r>
                        <a:rPr lang="en-US" sz="800" b="1" i="0" dirty="0">
                          <a:solidFill>
                            <a:schemeClr val="bg1"/>
                          </a:solidFill>
                          <a:latin typeface="+mj-lt"/>
                        </a:rPr>
                        <a:t>Sales </a:t>
                      </a:r>
                      <a:r>
                        <a:rPr lang="en-US" sz="800" b="1" i="0">
                          <a:solidFill>
                            <a:schemeClr val="bg1"/>
                          </a:solidFill>
                          <a:latin typeface="+mj-lt"/>
                        </a:rPr>
                        <a:t>Vs. 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rPr dirty="0"/>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rPr dirty="0"/>
                        <a:t>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helf </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Price</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Unit</a:t>
            </a:r>
          </a:p>
          <a:p>
            <a:pPr marL="0" marR="0" lvl="0" indent="0" defTabSz="685749"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Nexa Bold" panose="00000800000000000000" pitchFamily="2" charset="0"/>
              </a:rPr>
              <a:t>(</a:t>
            </a:r>
            <a:r>
              <a:rPr lang="en-US" sz="800" dirty="0">
                <a:solidFill>
                  <a:schemeClr val="tx1"/>
                </a:solidFill>
                <a:highlight>
                  <a:srgbClr val="FFFF00"/>
                </a:highlight>
                <a:latin typeface="Nexa Bold" panose="00000800000000000000" pitchFamily="2" charset="0"/>
              </a:rPr>
              <a:t>€</a:t>
            </a:r>
            <a:r>
              <a:rPr lang="en-US" sz="800" dirty="0">
                <a:solidFill>
                  <a:schemeClr val="tx1"/>
                </a:solidFill>
                <a:latin typeface="Nexa Bold" panose="00000800000000000000" pitchFamily="2" charset="0"/>
              </a:rPr>
              <a:t>)</a:t>
            </a:r>
            <a:endPar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endParaRP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Value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ales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M)</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8/11/2025</a:t>
            </a:fld>
            <a:endParaRPr lang="en-US" sz="500"/>
          </a:p>
        </p:txBody>
      </p:sp>
    </p:spTree>
    <p:extLst>
      <p:ext uri="{BB962C8B-B14F-4D97-AF65-F5344CB8AC3E}">
        <p14:creationId xmlns:p14="http://schemas.microsoft.com/office/powerpoint/2010/main" val="1206486832"/>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6</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r>
              <a:rPr lang="en-US" dirty="0"/>
              <a:t>Inter-size Discount  | </a:t>
            </a:r>
            <a:r>
              <a:rPr lang="en-US" dirty="0">
                <a:highlight>
                  <a:srgbClr val="FFFF00"/>
                </a:highlight>
              </a:rPr>
              <a:t>Variant</a:t>
            </a:r>
            <a:r>
              <a:rPr lang="en-US" dirty="0"/>
              <a:t> | </a:t>
            </a:r>
            <a:r>
              <a:rPr lang="en-US" dirty="0">
                <a:highlight>
                  <a:srgbClr val="FFFF00"/>
                </a:highlight>
              </a:rPr>
              <a:t>National</a:t>
            </a:r>
            <a:r>
              <a:rPr lang="en-US" dirty="0"/>
              <a:t> | P12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2800073758"/>
              </p:ext>
            </p:extLst>
          </p:nvPr>
        </p:nvGraphicFramePr>
        <p:xfrm>
          <a:off x="555229" y="4265104"/>
          <a:ext cx="7441138"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95492">
                  <a:extLst>
                    <a:ext uri="{9D8B030D-6E8A-4147-A177-3AD203B41FA5}">
                      <a16:colId xmlns:a16="http://schemas.microsoft.com/office/drawing/2014/main" val="2253286919"/>
                    </a:ext>
                  </a:extLst>
                </a:gridCol>
                <a:gridCol w="295492">
                  <a:extLst>
                    <a:ext uri="{9D8B030D-6E8A-4147-A177-3AD203B41FA5}">
                      <a16:colId xmlns:a16="http://schemas.microsoft.com/office/drawing/2014/main" val="2739285047"/>
                    </a:ext>
                  </a:extLst>
                </a:gridCol>
                <a:gridCol w="295492">
                  <a:extLst>
                    <a:ext uri="{9D8B030D-6E8A-4147-A177-3AD203B41FA5}">
                      <a16:colId xmlns:a16="http://schemas.microsoft.com/office/drawing/2014/main" val="686050863"/>
                    </a:ext>
                  </a:extLst>
                </a:gridCol>
                <a:gridCol w="295492">
                  <a:extLst>
                    <a:ext uri="{9D8B030D-6E8A-4147-A177-3AD203B41FA5}">
                      <a16:colId xmlns:a16="http://schemas.microsoft.com/office/drawing/2014/main" val="3765127706"/>
                    </a:ext>
                  </a:extLst>
                </a:gridCol>
                <a:gridCol w="295492">
                  <a:extLst>
                    <a:ext uri="{9D8B030D-6E8A-4147-A177-3AD203B41FA5}">
                      <a16:colId xmlns:a16="http://schemas.microsoft.com/office/drawing/2014/main" val="273303937"/>
                    </a:ext>
                  </a:extLst>
                </a:gridCol>
                <a:gridCol w="295492">
                  <a:extLst>
                    <a:ext uri="{9D8B030D-6E8A-4147-A177-3AD203B41FA5}">
                      <a16:colId xmlns:a16="http://schemas.microsoft.com/office/drawing/2014/main" val="1190134658"/>
                    </a:ext>
                  </a:extLst>
                </a:gridCol>
                <a:gridCol w="295492">
                  <a:extLst>
                    <a:ext uri="{9D8B030D-6E8A-4147-A177-3AD203B41FA5}">
                      <a16:colId xmlns:a16="http://schemas.microsoft.com/office/drawing/2014/main" val="1152288185"/>
                    </a:ext>
                  </a:extLst>
                </a:gridCol>
                <a:gridCol w="295492">
                  <a:extLst>
                    <a:ext uri="{9D8B030D-6E8A-4147-A177-3AD203B41FA5}">
                      <a16:colId xmlns:a16="http://schemas.microsoft.com/office/drawing/2014/main" val="1888319813"/>
                    </a:ext>
                  </a:extLst>
                </a:gridCol>
                <a:gridCol w="295492">
                  <a:extLst>
                    <a:ext uri="{9D8B030D-6E8A-4147-A177-3AD203B41FA5}">
                      <a16:colId xmlns:a16="http://schemas.microsoft.com/office/drawing/2014/main" val="3471064540"/>
                    </a:ext>
                  </a:extLst>
                </a:gridCol>
                <a:gridCol w="295492">
                  <a:extLst>
                    <a:ext uri="{9D8B030D-6E8A-4147-A177-3AD203B41FA5}">
                      <a16:colId xmlns:a16="http://schemas.microsoft.com/office/drawing/2014/main" val="670551899"/>
                    </a:ext>
                  </a:extLst>
                </a:gridCol>
                <a:gridCol w="295492">
                  <a:extLst>
                    <a:ext uri="{9D8B030D-6E8A-4147-A177-3AD203B41FA5}">
                      <a16:colId xmlns:a16="http://schemas.microsoft.com/office/drawing/2014/main" val="1100152168"/>
                    </a:ext>
                  </a:extLst>
                </a:gridCol>
                <a:gridCol w="295492">
                  <a:extLst>
                    <a:ext uri="{9D8B030D-6E8A-4147-A177-3AD203B41FA5}">
                      <a16:colId xmlns:a16="http://schemas.microsoft.com/office/drawing/2014/main" val="2165801595"/>
                    </a:ext>
                  </a:extLst>
                </a:gridCol>
                <a:gridCol w="295492">
                  <a:extLst>
                    <a:ext uri="{9D8B030D-6E8A-4147-A177-3AD203B41FA5}">
                      <a16:colId xmlns:a16="http://schemas.microsoft.com/office/drawing/2014/main" val="3981167565"/>
                    </a:ext>
                  </a:extLst>
                </a:gridCol>
                <a:gridCol w="295492">
                  <a:extLst>
                    <a:ext uri="{9D8B030D-6E8A-4147-A177-3AD203B41FA5}">
                      <a16:colId xmlns:a16="http://schemas.microsoft.com/office/drawing/2014/main" val="2740792325"/>
                    </a:ext>
                  </a:extLst>
                </a:gridCol>
                <a:gridCol w="295492">
                  <a:extLst>
                    <a:ext uri="{9D8B030D-6E8A-4147-A177-3AD203B41FA5}">
                      <a16:colId xmlns:a16="http://schemas.microsoft.com/office/drawing/2014/main" val="54782936"/>
                    </a:ext>
                  </a:extLst>
                </a:gridCol>
                <a:gridCol w="295492">
                  <a:extLst>
                    <a:ext uri="{9D8B030D-6E8A-4147-A177-3AD203B41FA5}">
                      <a16:colId xmlns:a16="http://schemas.microsoft.com/office/drawing/2014/main" val="154020430"/>
                    </a:ext>
                  </a:extLst>
                </a:gridCol>
                <a:gridCol w="295492">
                  <a:extLst>
                    <a:ext uri="{9D8B030D-6E8A-4147-A177-3AD203B41FA5}">
                      <a16:colId xmlns:a16="http://schemas.microsoft.com/office/drawing/2014/main" val="3928813835"/>
                    </a:ext>
                  </a:extLst>
                </a:gridCol>
                <a:gridCol w="295492">
                  <a:extLst>
                    <a:ext uri="{9D8B030D-6E8A-4147-A177-3AD203B41FA5}">
                      <a16:colId xmlns:a16="http://schemas.microsoft.com/office/drawing/2014/main" val="4210253042"/>
                    </a:ext>
                  </a:extLst>
                </a:gridCol>
                <a:gridCol w="295492">
                  <a:extLst>
                    <a:ext uri="{9D8B030D-6E8A-4147-A177-3AD203B41FA5}">
                      <a16:colId xmlns:a16="http://schemas.microsoft.com/office/drawing/2014/main" val="895787419"/>
                    </a:ext>
                  </a:extLst>
                </a:gridCol>
                <a:gridCol w="295492">
                  <a:extLst>
                    <a:ext uri="{9D8B030D-6E8A-4147-A177-3AD203B41FA5}">
                      <a16:colId xmlns:a16="http://schemas.microsoft.com/office/drawing/2014/main" val="3828388578"/>
                    </a:ext>
                  </a:extLst>
                </a:gridCol>
                <a:gridCol w="295492">
                  <a:extLst>
                    <a:ext uri="{9D8B030D-6E8A-4147-A177-3AD203B41FA5}">
                      <a16:colId xmlns:a16="http://schemas.microsoft.com/office/drawing/2014/main" val="742550205"/>
                    </a:ext>
                  </a:extLst>
                </a:gridCol>
                <a:gridCol w="295492">
                  <a:extLst>
                    <a:ext uri="{9D8B030D-6E8A-4147-A177-3AD203B41FA5}">
                      <a16:colId xmlns:a16="http://schemas.microsoft.com/office/drawing/2014/main" val="1408879461"/>
                    </a:ext>
                  </a:extLst>
                </a:gridCol>
              </a:tblGrid>
              <a:tr h="251292">
                <a:tc>
                  <a:txBody>
                    <a:bodyPr/>
                    <a:lstStyle/>
                    <a:p>
                      <a:r>
                        <a:rPr lang="en-US" sz="800" b="1" i="0" dirty="0">
                          <a:solidFill>
                            <a:schemeClr val="bg1"/>
                          </a:solidFill>
                          <a:latin typeface="+mj-lt"/>
                        </a:rPr>
                        <a:t>Sales </a:t>
                      </a:r>
                      <a:r>
                        <a:rPr lang="en-US" sz="800" b="1" i="0">
                          <a:solidFill>
                            <a:schemeClr val="bg1"/>
                          </a:solidFill>
                          <a:latin typeface="+mj-lt"/>
                        </a:rPr>
                        <a:t>Vs. 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rPr dirty="0"/>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rPr dirty="0"/>
                        <a:t>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helf </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Price</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Unit</a:t>
            </a:r>
          </a:p>
          <a:p>
            <a:pPr marL="0" marR="0" lvl="0" indent="0" defTabSz="685749"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Nexa Bold" panose="00000800000000000000" pitchFamily="2" charset="0"/>
              </a:rPr>
              <a:t>(</a:t>
            </a:r>
            <a:r>
              <a:rPr lang="en-US" sz="800" dirty="0">
                <a:solidFill>
                  <a:schemeClr val="tx1"/>
                </a:solidFill>
                <a:highlight>
                  <a:srgbClr val="FFFF00"/>
                </a:highlight>
                <a:latin typeface="Nexa Bold" panose="00000800000000000000" pitchFamily="2" charset="0"/>
              </a:rPr>
              <a:t>€</a:t>
            </a:r>
            <a:r>
              <a:rPr lang="en-US" sz="800" dirty="0">
                <a:solidFill>
                  <a:schemeClr val="tx1"/>
                </a:solidFill>
                <a:latin typeface="Nexa Bold" panose="00000800000000000000" pitchFamily="2" charset="0"/>
              </a:rPr>
              <a:t>)</a:t>
            </a:r>
            <a:endPar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endParaRP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Value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ales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M)</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8/11/2025</a:t>
            </a:fld>
            <a:endParaRPr lang="en-US" sz="500"/>
          </a:p>
        </p:txBody>
      </p:sp>
    </p:spTree>
    <p:extLst>
      <p:ext uri="{BB962C8B-B14F-4D97-AF65-F5344CB8AC3E}">
        <p14:creationId xmlns:p14="http://schemas.microsoft.com/office/powerpoint/2010/main" val="33678835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7</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r>
              <a:rPr lang="en-US" dirty="0"/>
              <a:t>Inter-size Discount  | </a:t>
            </a:r>
            <a:r>
              <a:rPr lang="en-US" dirty="0">
                <a:highlight>
                  <a:srgbClr val="FFFF00"/>
                </a:highlight>
              </a:rPr>
              <a:t>Variant</a:t>
            </a:r>
            <a:r>
              <a:rPr lang="en-US" dirty="0"/>
              <a:t> | </a:t>
            </a:r>
            <a:r>
              <a:rPr lang="en-US" dirty="0">
                <a:highlight>
                  <a:srgbClr val="FFFF00"/>
                </a:highlight>
              </a:rPr>
              <a:t>National</a:t>
            </a:r>
            <a:r>
              <a:rPr lang="en-US" dirty="0"/>
              <a:t> | P12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2800073758"/>
              </p:ext>
            </p:extLst>
          </p:nvPr>
        </p:nvGraphicFramePr>
        <p:xfrm>
          <a:off x="555229" y="4265104"/>
          <a:ext cx="7441138"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95492">
                  <a:extLst>
                    <a:ext uri="{9D8B030D-6E8A-4147-A177-3AD203B41FA5}">
                      <a16:colId xmlns:a16="http://schemas.microsoft.com/office/drawing/2014/main" val="2253286919"/>
                    </a:ext>
                  </a:extLst>
                </a:gridCol>
                <a:gridCol w="295492">
                  <a:extLst>
                    <a:ext uri="{9D8B030D-6E8A-4147-A177-3AD203B41FA5}">
                      <a16:colId xmlns:a16="http://schemas.microsoft.com/office/drawing/2014/main" val="2739285047"/>
                    </a:ext>
                  </a:extLst>
                </a:gridCol>
                <a:gridCol w="295492">
                  <a:extLst>
                    <a:ext uri="{9D8B030D-6E8A-4147-A177-3AD203B41FA5}">
                      <a16:colId xmlns:a16="http://schemas.microsoft.com/office/drawing/2014/main" val="686050863"/>
                    </a:ext>
                  </a:extLst>
                </a:gridCol>
                <a:gridCol w="295492">
                  <a:extLst>
                    <a:ext uri="{9D8B030D-6E8A-4147-A177-3AD203B41FA5}">
                      <a16:colId xmlns:a16="http://schemas.microsoft.com/office/drawing/2014/main" val="3765127706"/>
                    </a:ext>
                  </a:extLst>
                </a:gridCol>
                <a:gridCol w="295492">
                  <a:extLst>
                    <a:ext uri="{9D8B030D-6E8A-4147-A177-3AD203B41FA5}">
                      <a16:colId xmlns:a16="http://schemas.microsoft.com/office/drawing/2014/main" val="273303937"/>
                    </a:ext>
                  </a:extLst>
                </a:gridCol>
                <a:gridCol w="295492">
                  <a:extLst>
                    <a:ext uri="{9D8B030D-6E8A-4147-A177-3AD203B41FA5}">
                      <a16:colId xmlns:a16="http://schemas.microsoft.com/office/drawing/2014/main" val="1190134658"/>
                    </a:ext>
                  </a:extLst>
                </a:gridCol>
                <a:gridCol w="295492">
                  <a:extLst>
                    <a:ext uri="{9D8B030D-6E8A-4147-A177-3AD203B41FA5}">
                      <a16:colId xmlns:a16="http://schemas.microsoft.com/office/drawing/2014/main" val="1152288185"/>
                    </a:ext>
                  </a:extLst>
                </a:gridCol>
                <a:gridCol w="295492">
                  <a:extLst>
                    <a:ext uri="{9D8B030D-6E8A-4147-A177-3AD203B41FA5}">
                      <a16:colId xmlns:a16="http://schemas.microsoft.com/office/drawing/2014/main" val="1888319813"/>
                    </a:ext>
                  </a:extLst>
                </a:gridCol>
                <a:gridCol w="295492">
                  <a:extLst>
                    <a:ext uri="{9D8B030D-6E8A-4147-A177-3AD203B41FA5}">
                      <a16:colId xmlns:a16="http://schemas.microsoft.com/office/drawing/2014/main" val="3471064540"/>
                    </a:ext>
                  </a:extLst>
                </a:gridCol>
                <a:gridCol w="295492">
                  <a:extLst>
                    <a:ext uri="{9D8B030D-6E8A-4147-A177-3AD203B41FA5}">
                      <a16:colId xmlns:a16="http://schemas.microsoft.com/office/drawing/2014/main" val="670551899"/>
                    </a:ext>
                  </a:extLst>
                </a:gridCol>
                <a:gridCol w="295492">
                  <a:extLst>
                    <a:ext uri="{9D8B030D-6E8A-4147-A177-3AD203B41FA5}">
                      <a16:colId xmlns:a16="http://schemas.microsoft.com/office/drawing/2014/main" val="1100152168"/>
                    </a:ext>
                  </a:extLst>
                </a:gridCol>
                <a:gridCol w="295492">
                  <a:extLst>
                    <a:ext uri="{9D8B030D-6E8A-4147-A177-3AD203B41FA5}">
                      <a16:colId xmlns:a16="http://schemas.microsoft.com/office/drawing/2014/main" val="2165801595"/>
                    </a:ext>
                  </a:extLst>
                </a:gridCol>
                <a:gridCol w="295492">
                  <a:extLst>
                    <a:ext uri="{9D8B030D-6E8A-4147-A177-3AD203B41FA5}">
                      <a16:colId xmlns:a16="http://schemas.microsoft.com/office/drawing/2014/main" val="3981167565"/>
                    </a:ext>
                  </a:extLst>
                </a:gridCol>
                <a:gridCol w="295492">
                  <a:extLst>
                    <a:ext uri="{9D8B030D-6E8A-4147-A177-3AD203B41FA5}">
                      <a16:colId xmlns:a16="http://schemas.microsoft.com/office/drawing/2014/main" val="2740792325"/>
                    </a:ext>
                  </a:extLst>
                </a:gridCol>
                <a:gridCol w="295492">
                  <a:extLst>
                    <a:ext uri="{9D8B030D-6E8A-4147-A177-3AD203B41FA5}">
                      <a16:colId xmlns:a16="http://schemas.microsoft.com/office/drawing/2014/main" val="54782936"/>
                    </a:ext>
                  </a:extLst>
                </a:gridCol>
                <a:gridCol w="295492">
                  <a:extLst>
                    <a:ext uri="{9D8B030D-6E8A-4147-A177-3AD203B41FA5}">
                      <a16:colId xmlns:a16="http://schemas.microsoft.com/office/drawing/2014/main" val="154020430"/>
                    </a:ext>
                  </a:extLst>
                </a:gridCol>
                <a:gridCol w="295492">
                  <a:extLst>
                    <a:ext uri="{9D8B030D-6E8A-4147-A177-3AD203B41FA5}">
                      <a16:colId xmlns:a16="http://schemas.microsoft.com/office/drawing/2014/main" val="3928813835"/>
                    </a:ext>
                  </a:extLst>
                </a:gridCol>
                <a:gridCol w="295492">
                  <a:extLst>
                    <a:ext uri="{9D8B030D-6E8A-4147-A177-3AD203B41FA5}">
                      <a16:colId xmlns:a16="http://schemas.microsoft.com/office/drawing/2014/main" val="4210253042"/>
                    </a:ext>
                  </a:extLst>
                </a:gridCol>
                <a:gridCol w="295492">
                  <a:extLst>
                    <a:ext uri="{9D8B030D-6E8A-4147-A177-3AD203B41FA5}">
                      <a16:colId xmlns:a16="http://schemas.microsoft.com/office/drawing/2014/main" val="895787419"/>
                    </a:ext>
                  </a:extLst>
                </a:gridCol>
                <a:gridCol w="295492">
                  <a:extLst>
                    <a:ext uri="{9D8B030D-6E8A-4147-A177-3AD203B41FA5}">
                      <a16:colId xmlns:a16="http://schemas.microsoft.com/office/drawing/2014/main" val="3828388578"/>
                    </a:ext>
                  </a:extLst>
                </a:gridCol>
                <a:gridCol w="295492">
                  <a:extLst>
                    <a:ext uri="{9D8B030D-6E8A-4147-A177-3AD203B41FA5}">
                      <a16:colId xmlns:a16="http://schemas.microsoft.com/office/drawing/2014/main" val="742550205"/>
                    </a:ext>
                  </a:extLst>
                </a:gridCol>
                <a:gridCol w="295492">
                  <a:extLst>
                    <a:ext uri="{9D8B030D-6E8A-4147-A177-3AD203B41FA5}">
                      <a16:colId xmlns:a16="http://schemas.microsoft.com/office/drawing/2014/main" val="1408879461"/>
                    </a:ext>
                  </a:extLst>
                </a:gridCol>
              </a:tblGrid>
              <a:tr h="251292">
                <a:tc>
                  <a:txBody>
                    <a:bodyPr/>
                    <a:lstStyle/>
                    <a:p>
                      <a:r>
                        <a:rPr lang="en-US" sz="800" b="1" i="0" dirty="0">
                          <a:solidFill>
                            <a:schemeClr val="bg1"/>
                          </a:solidFill>
                          <a:latin typeface="+mj-lt"/>
                        </a:rPr>
                        <a:t>Sales </a:t>
                      </a:r>
                      <a:r>
                        <a:rPr lang="en-US" sz="800" b="1" i="0">
                          <a:solidFill>
                            <a:schemeClr val="bg1"/>
                          </a:solidFill>
                          <a:latin typeface="+mj-lt"/>
                        </a:rPr>
                        <a:t>Vs. 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rPr dirty="0"/>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rPr dirty="0"/>
                        <a:t>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helf </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Price</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Unit</a:t>
            </a:r>
          </a:p>
          <a:p>
            <a:pPr marL="0" marR="0" lvl="0" indent="0" defTabSz="685749"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Nexa Bold" panose="00000800000000000000" pitchFamily="2" charset="0"/>
              </a:rPr>
              <a:t>(</a:t>
            </a:r>
            <a:r>
              <a:rPr lang="en-US" sz="800" dirty="0">
                <a:solidFill>
                  <a:schemeClr val="tx1"/>
                </a:solidFill>
                <a:highlight>
                  <a:srgbClr val="FFFF00"/>
                </a:highlight>
                <a:latin typeface="Nexa Bold" panose="00000800000000000000" pitchFamily="2" charset="0"/>
              </a:rPr>
              <a:t>€</a:t>
            </a:r>
            <a:r>
              <a:rPr lang="en-US" sz="800" dirty="0">
                <a:solidFill>
                  <a:schemeClr val="tx1"/>
                </a:solidFill>
                <a:latin typeface="Nexa Bold" panose="00000800000000000000" pitchFamily="2" charset="0"/>
              </a:rPr>
              <a:t>)</a:t>
            </a:r>
            <a:endPar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endParaRP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Value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ales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M)</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8/11/2025</a:t>
            </a:fld>
            <a:endParaRPr lang="en-US" sz="500"/>
          </a:p>
        </p:txBody>
      </p:sp>
    </p:spTree>
    <p:extLst>
      <p:ext uri="{BB962C8B-B14F-4D97-AF65-F5344CB8AC3E}">
        <p14:creationId xmlns:p14="http://schemas.microsoft.com/office/powerpoint/2010/main" val="328823014"/>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8</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r>
              <a:rPr lang="en-US" dirty="0"/>
              <a:t>Inter-size Discount  | </a:t>
            </a:r>
            <a:r>
              <a:rPr lang="en-US" dirty="0">
                <a:highlight>
                  <a:srgbClr val="FFFF00"/>
                </a:highlight>
              </a:rPr>
              <a:t>Variant</a:t>
            </a:r>
            <a:r>
              <a:rPr lang="en-US" dirty="0"/>
              <a:t> | </a:t>
            </a:r>
            <a:r>
              <a:rPr lang="en-US" dirty="0">
                <a:highlight>
                  <a:srgbClr val="FFFF00"/>
                </a:highlight>
              </a:rPr>
              <a:t>National</a:t>
            </a:r>
            <a:r>
              <a:rPr lang="en-US" dirty="0"/>
              <a:t> | P12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2800073758"/>
              </p:ext>
            </p:extLst>
          </p:nvPr>
        </p:nvGraphicFramePr>
        <p:xfrm>
          <a:off x="555229" y="4265104"/>
          <a:ext cx="7441138"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95492">
                  <a:extLst>
                    <a:ext uri="{9D8B030D-6E8A-4147-A177-3AD203B41FA5}">
                      <a16:colId xmlns:a16="http://schemas.microsoft.com/office/drawing/2014/main" val="2253286919"/>
                    </a:ext>
                  </a:extLst>
                </a:gridCol>
                <a:gridCol w="295492">
                  <a:extLst>
                    <a:ext uri="{9D8B030D-6E8A-4147-A177-3AD203B41FA5}">
                      <a16:colId xmlns:a16="http://schemas.microsoft.com/office/drawing/2014/main" val="2739285047"/>
                    </a:ext>
                  </a:extLst>
                </a:gridCol>
                <a:gridCol w="295492">
                  <a:extLst>
                    <a:ext uri="{9D8B030D-6E8A-4147-A177-3AD203B41FA5}">
                      <a16:colId xmlns:a16="http://schemas.microsoft.com/office/drawing/2014/main" val="686050863"/>
                    </a:ext>
                  </a:extLst>
                </a:gridCol>
                <a:gridCol w="295492">
                  <a:extLst>
                    <a:ext uri="{9D8B030D-6E8A-4147-A177-3AD203B41FA5}">
                      <a16:colId xmlns:a16="http://schemas.microsoft.com/office/drawing/2014/main" val="3765127706"/>
                    </a:ext>
                  </a:extLst>
                </a:gridCol>
                <a:gridCol w="295492">
                  <a:extLst>
                    <a:ext uri="{9D8B030D-6E8A-4147-A177-3AD203B41FA5}">
                      <a16:colId xmlns:a16="http://schemas.microsoft.com/office/drawing/2014/main" val="273303937"/>
                    </a:ext>
                  </a:extLst>
                </a:gridCol>
                <a:gridCol w="295492">
                  <a:extLst>
                    <a:ext uri="{9D8B030D-6E8A-4147-A177-3AD203B41FA5}">
                      <a16:colId xmlns:a16="http://schemas.microsoft.com/office/drawing/2014/main" val="1190134658"/>
                    </a:ext>
                  </a:extLst>
                </a:gridCol>
                <a:gridCol w="295492">
                  <a:extLst>
                    <a:ext uri="{9D8B030D-6E8A-4147-A177-3AD203B41FA5}">
                      <a16:colId xmlns:a16="http://schemas.microsoft.com/office/drawing/2014/main" val="1152288185"/>
                    </a:ext>
                  </a:extLst>
                </a:gridCol>
                <a:gridCol w="295492">
                  <a:extLst>
                    <a:ext uri="{9D8B030D-6E8A-4147-A177-3AD203B41FA5}">
                      <a16:colId xmlns:a16="http://schemas.microsoft.com/office/drawing/2014/main" val="1888319813"/>
                    </a:ext>
                  </a:extLst>
                </a:gridCol>
                <a:gridCol w="295492">
                  <a:extLst>
                    <a:ext uri="{9D8B030D-6E8A-4147-A177-3AD203B41FA5}">
                      <a16:colId xmlns:a16="http://schemas.microsoft.com/office/drawing/2014/main" val="3471064540"/>
                    </a:ext>
                  </a:extLst>
                </a:gridCol>
                <a:gridCol w="295492">
                  <a:extLst>
                    <a:ext uri="{9D8B030D-6E8A-4147-A177-3AD203B41FA5}">
                      <a16:colId xmlns:a16="http://schemas.microsoft.com/office/drawing/2014/main" val="670551899"/>
                    </a:ext>
                  </a:extLst>
                </a:gridCol>
                <a:gridCol w="295492">
                  <a:extLst>
                    <a:ext uri="{9D8B030D-6E8A-4147-A177-3AD203B41FA5}">
                      <a16:colId xmlns:a16="http://schemas.microsoft.com/office/drawing/2014/main" val="1100152168"/>
                    </a:ext>
                  </a:extLst>
                </a:gridCol>
                <a:gridCol w="295492">
                  <a:extLst>
                    <a:ext uri="{9D8B030D-6E8A-4147-A177-3AD203B41FA5}">
                      <a16:colId xmlns:a16="http://schemas.microsoft.com/office/drawing/2014/main" val="2165801595"/>
                    </a:ext>
                  </a:extLst>
                </a:gridCol>
                <a:gridCol w="295492">
                  <a:extLst>
                    <a:ext uri="{9D8B030D-6E8A-4147-A177-3AD203B41FA5}">
                      <a16:colId xmlns:a16="http://schemas.microsoft.com/office/drawing/2014/main" val="3981167565"/>
                    </a:ext>
                  </a:extLst>
                </a:gridCol>
                <a:gridCol w="295492">
                  <a:extLst>
                    <a:ext uri="{9D8B030D-6E8A-4147-A177-3AD203B41FA5}">
                      <a16:colId xmlns:a16="http://schemas.microsoft.com/office/drawing/2014/main" val="2740792325"/>
                    </a:ext>
                  </a:extLst>
                </a:gridCol>
                <a:gridCol w="295492">
                  <a:extLst>
                    <a:ext uri="{9D8B030D-6E8A-4147-A177-3AD203B41FA5}">
                      <a16:colId xmlns:a16="http://schemas.microsoft.com/office/drawing/2014/main" val="54782936"/>
                    </a:ext>
                  </a:extLst>
                </a:gridCol>
                <a:gridCol w="295492">
                  <a:extLst>
                    <a:ext uri="{9D8B030D-6E8A-4147-A177-3AD203B41FA5}">
                      <a16:colId xmlns:a16="http://schemas.microsoft.com/office/drawing/2014/main" val="154020430"/>
                    </a:ext>
                  </a:extLst>
                </a:gridCol>
                <a:gridCol w="295492">
                  <a:extLst>
                    <a:ext uri="{9D8B030D-6E8A-4147-A177-3AD203B41FA5}">
                      <a16:colId xmlns:a16="http://schemas.microsoft.com/office/drawing/2014/main" val="3928813835"/>
                    </a:ext>
                  </a:extLst>
                </a:gridCol>
                <a:gridCol w="295492">
                  <a:extLst>
                    <a:ext uri="{9D8B030D-6E8A-4147-A177-3AD203B41FA5}">
                      <a16:colId xmlns:a16="http://schemas.microsoft.com/office/drawing/2014/main" val="4210253042"/>
                    </a:ext>
                  </a:extLst>
                </a:gridCol>
                <a:gridCol w="295492">
                  <a:extLst>
                    <a:ext uri="{9D8B030D-6E8A-4147-A177-3AD203B41FA5}">
                      <a16:colId xmlns:a16="http://schemas.microsoft.com/office/drawing/2014/main" val="895787419"/>
                    </a:ext>
                  </a:extLst>
                </a:gridCol>
                <a:gridCol w="295492">
                  <a:extLst>
                    <a:ext uri="{9D8B030D-6E8A-4147-A177-3AD203B41FA5}">
                      <a16:colId xmlns:a16="http://schemas.microsoft.com/office/drawing/2014/main" val="3828388578"/>
                    </a:ext>
                  </a:extLst>
                </a:gridCol>
                <a:gridCol w="295492">
                  <a:extLst>
                    <a:ext uri="{9D8B030D-6E8A-4147-A177-3AD203B41FA5}">
                      <a16:colId xmlns:a16="http://schemas.microsoft.com/office/drawing/2014/main" val="742550205"/>
                    </a:ext>
                  </a:extLst>
                </a:gridCol>
                <a:gridCol w="295492">
                  <a:extLst>
                    <a:ext uri="{9D8B030D-6E8A-4147-A177-3AD203B41FA5}">
                      <a16:colId xmlns:a16="http://schemas.microsoft.com/office/drawing/2014/main" val="1408879461"/>
                    </a:ext>
                  </a:extLst>
                </a:gridCol>
              </a:tblGrid>
              <a:tr h="251292">
                <a:tc>
                  <a:txBody>
                    <a:bodyPr/>
                    <a:lstStyle/>
                    <a:p>
                      <a:r>
                        <a:rPr lang="en-US" sz="800" b="1" i="0" dirty="0">
                          <a:solidFill>
                            <a:schemeClr val="bg1"/>
                          </a:solidFill>
                          <a:latin typeface="+mj-lt"/>
                        </a:rPr>
                        <a:t>Sales </a:t>
                      </a:r>
                      <a:r>
                        <a:rPr lang="en-US" sz="800" b="1" i="0">
                          <a:solidFill>
                            <a:schemeClr val="bg1"/>
                          </a:solidFill>
                          <a:latin typeface="+mj-lt"/>
                        </a:rPr>
                        <a:t>Vs. 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rPr dirty="0"/>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rPr dirty="0"/>
                        <a:t>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helf </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Price</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Unit</a:t>
            </a:r>
          </a:p>
          <a:p>
            <a:pPr marL="0" marR="0" lvl="0" indent="0" defTabSz="685749"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Nexa Bold" panose="00000800000000000000" pitchFamily="2" charset="0"/>
              </a:rPr>
              <a:t>(</a:t>
            </a:r>
            <a:r>
              <a:rPr lang="en-US" sz="800" dirty="0">
                <a:solidFill>
                  <a:schemeClr val="tx1"/>
                </a:solidFill>
                <a:highlight>
                  <a:srgbClr val="FFFF00"/>
                </a:highlight>
                <a:latin typeface="Nexa Bold" panose="00000800000000000000" pitchFamily="2" charset="0"/>
              </a:rPr>
              <a:t>€</a:t>
            </a:r>
            <a:r>
              <a:rPr lang="en-US" sz="800" dirty="0">
                <a:solidFill>
                  <a:schemeClr val="tx1"/>
                </a:solidFill>
                <a:latin typeface="Nexa Bold" panose="00000800000000000000" pitchFamily="2" charset="0"/>
              </a:rPr>
              <a:t>)</a:t>
            </a:r>
            <a:endPar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endParaRP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Value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ales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M)</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8/11/2025</a:t>
            </a:fld>
            <a:endParaRPr lang="en-US" sz="500"/>
          </a:p>
        </p:txBody>
      </p:sp>
    </p:spTree>
    <p:extLst>
      <p:ext uri="{BB962C8B-B14F-4D97-AF65-F5344CB8AC3E}">
        <p14:creationId xmlns:p14="http://schemas.microsoft.com/office/powerpoint/2010/main" val="398380153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9</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r>
              <a:rPr lang="en-US" dirty="0"/>
              <a:t>Inter-size Discount  | </a:t>
            </a:r>
            <a:r>
              <a:rPr lang="en-US" dirty="0">
                <a:highlight>
                  <a:srgbClr val="FFFF00"/>
                </a:highlight>
              </a:rPr>
              <a:t>Variant</a:t>
            </a:r>
            <a:r>
              <a:rPr lang="en-US" dirty="0"/>
              <a:t> | </a:t>
            </a:r>
            <a:r>
              <a:rPr lang="en-US" dirty="0">
                <a:highlight>
                  <a:srgbClr val="FFFF00"/>
                </a:highlight>
              </a:rPr>
              <a:t>National</a:t>
            </a:r>
            <a:r>
              <a:rPr lang="en-US" dirty="0"/>
              <a:t> | P12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2800073758"/>
              </p:ext>
            </p:extLst>
          </p:nvPr>
        </p:nvGraphicFramePr>
        <p:xfrm>
          <a:off x="555229" y="4265104"/>
          <a:ext cx="7441138"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95492">
                  <a:extLst>
                    <a:ext uri="{9D8B030D-6E8A-4147-A177-3AD203B41FA5}">
                      <a16:colId xmlns:a16="http://schemas.microsoft.com/office/drawing/2014/main" val="2253286919"/>
                    </a:ext>
                  </a:extLst>
                </a:gridCol>
                <a:gridCol w="295492">
                  <a:extLst>
                    <a:ext uri="{9D8B030D-6E8A-4147-A177-3AD203B41FA5}">
                      <a16:colId xmlns:a16="http://schemas.microsoft.com/office/drawing/2014/main" val="2739285047"/>
                    </a:ext>
                  </a:extLst>
                </a:gridCol>
                <a:gridCol w="295492">
                  <a:extLst>
                    <a:ext uri="{9D8B030D-6E8A-4147-A177-3AD203B41FA5}">
                      <a16:colId xmlns:a16="http://schemas.microsoft.com/office/drawing/2014/main" val="686050863"/>
                    </a:ext>
                  </a:extLst>
                </a:gridCol>
                <a:gridCol w="295492">
                  <a:extLst>
                    <a:ext uri="{9D8B030D-6E8A-4147-A177-3AD203B41FA5}">
                      <a16:colId xmlns:a16="http://schemas.microsoft.com/office/drawing/2014/main" val="3765127706"/>
                    </a:ext>
                  </a:extLst>
                </a:gridCol>
                <a:gridCol w="295492">
                  <a:extLst>
                    <a:ext uri="{9D8B030D-6E8A-4147-A177-3AD203B41FA5}">
                      <a16:colId xmlns:a16="http://schemas.microsoft.com/office/drawing/2014/main" val="273303937"/>
                    </a:ext>
                  </a:extLst>
                </a:gridCol>
                <a:gridCol w="295492">
                  <a:extLst>
                    <a:ext uri="{9D8B030D-6E8A-4147-A177-3AD203B41FA5}">
                      <a16:colId xmlns:a16="http://schemas.microsoft.com/office/drawing/2014/main" val="1190134658"/>
                    </a:ext>
                  </a:extLst>
                </a:gridCol>
                <a:gridCol w="295492">
                  <a:extLst>
                    <a:ext uri="{9D8B030D-6E8A-4147-A177-3AD203B41FA5}">
                      <a16:colId xmlns:a16="http://schemas.microsoft.com/office/drawing/2014/main" val="1152288185"/>
                    </a:ext>
                  </a:extLst>
                </a:gridCol>
                <a:gridCol w="295492">
                  <a:extLst>
                    <a:ext uri="{9D8B030D-6E8A-4147-A177-3AD203B41FA5}">
                      <a16:colId xmlns:a16="http://schemas.microsoft.com/office/drawing/2014/main" val="1888319813"/>
                    </a:ext>
                  </a:extLst>
                </a:gridCol>
                <a:gridCol w="295492">
                  <a:extLst>
                    <a:ext uri="{9D8B030D-6E8A-4147-A177-3AD203B41FA5}">
                      <a16:colId xmlns:a16="http://schemas.microsoft.com/office/drawing/2014/main" val="3471064540"/>
                    </a:ext>
                  </a:extLst>
                </a:gridCol>
                <a:gridCol w="295492">
                  <a:extLst>
                    <a:ext uri="{9D8B030D-6E8A-4147-A177-3AD203B41FA5}">
                      <a16:colId xmlns:a16="http://schemas.microsoft.com/office/drawing/2014/main" val="670551899"/>
                    </a:ext>
                  </a:extLst>
                </a:gridCol>
                <a:gridCol w="295492">
                  <a:extLst>
                    <a:ext uri="{9D8B030D-6E8A-4147-A177-3AD203B41FA5}">
                      <a16:colId xmlns:a16="http://schemas.microsoft.com/office/drawing/2014/main" val="1100152168"/>
                    </a:ext>
                  </a:extLst>
                </a:gridCol>
                <a:gridCol w="295492">
                  <a:extLst>
                    <a:ext uri="{9D8B030D-6E8A-4147-A177-3AD203B41FA5}">
                      <a16:colId xmlns:a16="http://schemas.microsoft.com/office/drawing/2014/main" val="2165801595"/>
                    </a:ext>
                  </a:extLst>
                </a:gridCol>
                <a:gridCol w="295492">
                  <a:extLst>
                    <a:ext uri="{9D8B030D-6E8A-4147-A177-3AD203B41FA5}">
                      <a16:colId xmlns:a16="http://schemas.microsoft.com/office/drawing/2014/main" val="3981167565"/>
                    </a:ext>
                  </a:extLst>
                </a:gridCol>
                <a:gridCol w="295492">
                  <a:extLst>
                    <a:ext uri="{9D8B030D-6E8A-4147-A177-3AD203B41FA5}">
                      <a16:colId xmlns:a16="http://schemas.microsoft.com/office/drawing/2014/main" val="2740792325"/>
                    </a:ext>
                  </a:extLst>
                </a:gridCol>
                <a:gridCol w="295492">
                  <a:extLst>
                    <a:ext uri="{9D8B030D-6E8A-4147-A177-3AD203B41FA5}">
                      <a16:colId xmlns:a16="http://schemas.microsoft.com/office/drawing/2014/main" val="54782936"/>
                    </a:ext>
                  </a:extLst>
                </a:gridCol>
                <a:gridCol w="295492">
                  <a:extLst>
                    <a:ext uri="{9D8B030D-6E8A-4147-A177-3AD203B41FA5}">
                      <a16:colId xmlns:a16="http://schemas.microsoft.com/office/drawing/2014/main" val="154020430"/>
                    </a:ext>
                  </a:extLst>
                </a:gridCol>
                <a:gridCol w="295492">
                  <a:extLst>
                    <a:ext uri="{9D8B030D-6E8A-4147-A177-3AD203B41FA5}">
                      <a16:colId xmlns:a16="http://schemas.microsoft.com/office/drawing/2014/main" val="3928813835"/>
                    </a:ext>
                  </a:extLst>
                </a:gridCol>
                <a:gridCol w="295492">
                  <a:extLst>
                    <a:ext uri="{9D8B030D-6E8A-4147-A177-3AD203B41FA5}">
                      <a16:colId xmlns:a16="http://schemas.microsoft.com/office/drawing/2014/main" val="4210253042"/>
                    </a:ext>
                  </a:extLst>
                </a:gridCol>
                <a:gridCol w="295492">
                  <a:extLst>
                    <a:ext uri="{9D8B030D-6E8A-4147-A177-3AD203B41FA5}">
                      <a16:colId xmlns:a16="http://schemas.microsoft.com/office/drawing/2014/main" val="895787419"/>
                    </a:ext>
                  </a:extLst>
                </a:gridCol>
                <a:gridCol w="295492">
                  <a:extLst>
                    <a:ext uri="{9D8B030D-6E8A-4147-A177-3AD203B41FA5}">
                      <a16:colId xmlns:a16="http://schemas.microsoft.com/office/drawing/2014/main" val="3828388578"/>
                    </a:ext>
                  </a:extLst>
                </a:gridCol>
                <a:gridCol w="295492">
                  <a:extLst>
                    <a:ext uri="{9D8B030D-6E8A-4147-A177-3AD203B41FA5}">
                      <a16:colId xmlns:a16="http://schemas.microsoft.com/office/drawing/2014/main" val="742550205"/>
                    </a:ext>
                  </a:extLst>
                </a:gridCol>
                <a:gridCol w="295492">
                  <a:extLst>
                    <a:ext uri="{9D8B030D-6E8A-4147-A177-3AD203B41FA5}">
                      <a16:colId xmlns:a16="http://schemas.microsoft.com/office/drawing/2014/main" val="1408879461"/>
                    </a:ext>
                  </a:extLst>
                </a:gridCol>
              </a:tblGrid>
              <a:tr h="251292">
                <a:tc>
                  <a:txBody>
                    <a:bodyPr/>
                    <a:lstStyle/>
                    <a:p>
                      <a:r>
                        <a:rPr lang="en-US" sz="800" b="1" i="0" dirty="0">
                          <a:solidFill>
                            <a:schemeClr val="bg1"/>
                          </a:solidFill>
                          <a:latin typeface="+mj-lt"/>
                        </a:rPr>
                        <a:t>Sales </a:t>
                      </a:r>
                      <a:r>
                        <a:rPr lang="en-US" sz="800" b="1" i="0">
                          <a:solidFill>
                            <a:schemeClr val="bg1"/>
                          </a:solidFill>
                          <a:latin typeface="+mj-lt"/>
                        </a:rPr>
                        <a:t>Vs. 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rPr dirty="0"/>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rPr dirty="0"/>
                        <a:t>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helf </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Price</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Unit</a:t>
            </a:r>
          </a:p>
          <a:p>
            <a:pPr marL="0" marR="0" lvl="0" indent="0" defTabSz="685749"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Nexa Bold" panose="00000800000000000000" pitchFamily="2" charset="0"/>
              </a:rPr>
              <a:t>(</a:t>
            </a:r>
            <a:r>
              <a:rPr lang="en-US" sz="800" dirty="0">
                <a:solidFill>
                  <a:schemeClr val="tx1"/>
                </a:solidFill>
                <a:highlight>
                  <a:srgbClr val="FFFF00"/>
                </a:highlight>
                <a:latin typeface="Nexa Bold" panose="00000800000000000000" pitchFamily="2" charset="0"/>
              </a:rPr>
              <a:t>€</a:t>
            </a:r>
            <a:r>
              <a:rPr lang="en-US" sz="800" dirty="0">
                <a:solidFill>
                  <a:schemeClr val="tx1"/>
                </a:solidFill>
                <a:latin typeface="Nexa Bold" panose="00000800000000000000" pitchFamily="2" charset="0"/>
              </a:rPr>
              <a:t>)</a:t>
            </a:r>
            <a:endPar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endParaRP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Value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ales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M)</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8/11/2025</a:t>
            </a:fld>
            <a:endParaRPr lang="en-US" sz="500"/>
          </a:p>
        </p:txBody>
      </p:sp>
    </p:spTree>
    <p:extLst>
      <p:ext uri="{BB962C8B-B14F-4D97-AF65-F5344CB8AC3E}">
        <p14:creationId xmlns:p14="http://schemas.microsoft.com/office/powerpoint/2010/main" val="108644618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r>
              <a:rPr lang="en-US" dirty="0"/>
              <a:t>Inter-size Discount  | </a:t>
            </a:r>
            <a:r>
              <a:rPr lang="en-US" dirty="0">
                <a:highlight>
                  <a:srgbClr val="FFFF00"/>
                </a:highlight>
              </a:rPr>
              <a:t>Variant</a:t>
            </a:r>
            <a:r>
              <a:rPr lang="en-US" dirty="0"/>
              <a:t> | </a:t>
            </a:r>
            <a:r>
              <a:rPr lang="en-US" dirty="0">
                <a:highlight>
                  <a:srgbClr val="FFFF00"/>
                </a:highlight>
              </a:rPr>
              <a:t>National</a:t>
            </a:r>
            <a:r>
              <a:rPr lang="en-US" dirty="0"/>
              <a:t> | P12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2800073758"/>
              </p:ext>
            </p:extLst>
          </p:nvPr>
        </p:nvGraphicFramePr>
        <p:xfrm>
          <a:off x="555229" y="4265104"/>
          <a:ext cx="7441138"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95492">
                  <a:extLst>
                    <a:ext uri="{9D8B030D-6E8A-4147-A177-3AD203B41FA5}">
                      <a16:colId xmlns:a16="http://schemas.microsoft.com/office/drawing/2014/main" val="2253286919"/>
                    </a:ext>
                  </a:extLst>
                </a:gridCol>
                <a:gridCol w="295492">
                  <a:extLst>
                    <a:ext uri="{9D8B030D-6E8A-4147-A177-3AD203B41FA5}">
                      <a16:colId xmlns:a16="http://schemas.microsoft.com/office/drawing/2014/main" val="2739285047"/>
                    </a:ext>
                  </a:extLst>
                </a:gridCol>
                <a:gridCol w="295492">
                  <a:extLst>
                    <a:ext uri="{9D8B030D-6E8A-4147-A177-3AD203B41FA5}">
                      <a16:colId xmlns:a16="http://schemas.microsoft.com/office/drawing/2014/main" val="686050863"/>
                    </a:ext>
                  </a:extLst>
                </a:gridCol>
                <a:gridCol w="295492">
                  <a:extLst>
                    <a:ext uri="{9D8B030D-6E8A-4147-A177-3AD203B41FA5}">
                      <a16:colId xmlns:a16="http://schemas.microsoft.com/office/drawing/2014/main" val="3765127706"/>
                    </a:ext>
                  </a:extLst>
                </a:gridCol>
                <a:gridCol w="295492">
                  <a:extLst>
                    <a:ext uri="{9D8B030D-6E8A-4147-A177-3AD203B41FA5}">
                      <a16:colId xmlns:a16="http://schemas.microsoft.com/office/drawing/2014/main" val="273303937"/>
                    </a:ext>
                  </a:extLst>
                </a:gridCol>
                <a:gridCol w="295492">
                  <a:extLst>
                    <a:ext uri="{9D8B030D-6E8A-4147-A177-3AD203B41FA5}">
                      <a16:colId xmlns:a16="http://schemas.microsoft.com/office/drawing/2014/main" val="1190134658"/>
                    </a:ext>
                  </a:extLst>
                </a:gridCol>
                <a:gridCol w="295492">
                  <a:extLst>
                    <a:ext uri="{9D8B030D-6E8A-4147-A177-3AD203B41FA5}">
                      <a16:colId xmlns:a16="http://schemas.microsoft.com/office/drawing/2014/main" val="1152288185"/>
                    </a:ext>
                  </a:extLst>
                </a:gridCol>
                <a:gridCol w="295492">
                  <a:extLst>
                    <a:ext uri="{9D8B030D-6E8A-4147-A177-3AD203B41FA5}">
                      <a16:colId xmlns:a16="http://schemas.microsoft.com/office/drawing/2014/main" val="1888319813"/>
                    </a:ext>
                  </a:extLst>
                </a:gridCol>
                <a:gridCol w="295492">
                  <a:extLst>
                    <a:ext uri="{9D8B030D-6E8A-4147-A177-3AD203B41FA5}">
                      <a16:colId xmlns:a16="http://schemas.microsoft.com/office/drawing/2014/main" val="3471064540"/>
                    </a:ext>
                  </a:extLst>
                </a:gridCol>
                <a:gridCol w="295492">
                  <a:extLst>
                    <a:ext uri="{9D8B030D-6E8A-4147-A177-3AD203B41FA5}">
                      <a16:colId xmlns:a16="http://schemas.microsoft.com/office/drawing/2014/main" val="670551899"/>
                    </a:ext>
                  </a:extLst>
                </a:gridCol>
                <a:gridCol w="295492">
                  <a:extLst>
                    <a:ext uri="{9D8B030D-6E8A-4147-A177-3AD203B41FA5}">
                      <a16:colId xmlns:a16="http://schemas.microsoft.com/office/drawing/2014/main" val="1100152168"/>
                    </a:ext>
                  </a:extLst>
                </a:gridCol>
                <a:gridCol w="295492">
                  <a:extLst>
                    <a:ext uri="{9D8B030D-6E8A-4147-A177-3AD203B41FA5}">
                      <a16:colId xmlns:a16="http://schemas.microsoft.com/office/drawing/2014/main" val="2165801595"/>
                    </a:ext>
                  </a:extLst>
                </a:gridCol>
                <a:gridCol w="295492">
                  <a:extLst>
                    <a:ext uri="{9D8B030D-6E8A-4147-A177-3AD203B41FA5}">
                      <a16:colId xmlns:a16="http://schemas.microsoft.com/office/drawing/2014/main" val="3981167565"/>
                    </a:ext>
                  </a:extLst>
                </a:gridCol>
                <a:gridCol w="295492">
                  <a:extLst>
                    <a:ext uri="{9D8B030D-6E8A-4147-A177-3AD203B41FA5}">
                      <a16:colId xmlns:a16="http://schemas.microsoft.com/office/drawing/2014/main" val="2740792325"/>
                    </a:ext>
                  </a:extLst>
                </a:gridCol>
                <a:gridCol w="295492">
                  <a:extLst>
                    <a:ext uri="{9D8B030D-6E8A-4147-A177-3AD203B41FA5}">
                      <a16:colId xmlns:a16="http://schemas.microsoft.com/office/drawing/2014/main" val="54782936"/>
                    </a:ext>
                  </a:extLst>
                </a:gridCol>
                <a:gridCol w="295492">
                  <a:extLst>
                    <a:ext uri="{9D8B030D-6E8A-4147-A177-3AD203B41FA5}">
                      <a16:colId xmlns:a16="http://schemas.microsoft.com/office/drawing/2014/main" val="154020430"/>
                    </a:ext>
                  </a:extLst>
                </a:gridCol>
                <a:gridCol w="295492">
                  <a:extLst>
                    <a:ext uri="{9D8B030D-6E8A-4147-A177-3AD203B41FA5}">
                      <a16:colId xmlns:a16="http://schemas.microsoft.com/office/drawing/2014/main" val="3928813835"/>
                    </a:ext>
                  </a:extLst>
                </a:gridCol>
                <a:gridCol w="295492">
                  <a:extLst>
                    <a:ext uri="{9D8B030D-6E8A-4147-A177-3AD203B41FA5}">
                      <a16:colId xmlns:a16="http://schemas.microsoft.com/office/drawing/2014/main" val="4210253042"/>
                    </a:ext>
                  </a:extLst>
                </a:gridCol>
                <a:gridCol w="295492">
                  <a:extLst>
                    <a:ext uri="{9D8B030D-6E8A-4147-A177-3AD203B41FA5}">
                      <a16:colId xmlns:a16="http://schemas.microsoft.com/office/drawing/2014/main" val="895787419"/>
                    </a:ext>
                  </a:extLst>
                </a:gridCol>
                <a:gridCol w="295492">
                  <a:extLst>
                    <a:ext uri="{9D8B030D-6E8A-4147-A177-3AD203B41FA5}">
                      <a16:colId xmlns:a16="http://schemas.microsoft.com/office/drawing/2014/main" val="3828388578"/>
                    </a:ext>
                  </a:extLst>
                </a:gridCol>
                <a:gridCol w="295492">
                  <a:extLst>
                    <a:ext uri="{9D8B030D-6E8A-4147-A177-3AD203B41FA5}">
                      <a16:colId xmlns:a16="http://schemas.microsoft.com/office/drawing/2014/main" val="742550205"/>
                    </a:ext>
                  </a:extLst>
                </a:gridCol>
                <a:gridCol w="295492">
                  <a:extLst>
                    <a:ext uri="{9D8B030D-6E8A-4147-A177-3AD203B41FA5}">
                      <a16:colId xmlns:a16="http://schemas.microsoft.com/office/drawing/2014/main" val="1408879461"/>
                    </a:ext>
                  </a:extLst>
                </a:gridCol>
              </a:tblGrid>
              <a:tr h="251292">
                <a:tc>
                  <a:txBody>
                    <a:bodyPr/>
                    <a:lstStyle/>
                    <a:p>
                      <a:r>
                        <a:rPr lang="en-US" sz="800" b="1" i="0" dirty="0">
                          <a:solidFill>
                            <a:schemeClr val="bg1"/>
                          </a:solidFill>
                          <a:latin typeface="+mj-lt"/>
                        </a:rPr>
                        <a:t>Sales </a:t>
                      </a:r>
                      <a:r>
                        <a:rPr lang="en-US" sz="800" b="1" i="0">
                          <a:solidFill>
                            <a:schemeClr val="bg1"/>
                          </a:solidFill>
                          <a:latin typeface="+mj-lt"/>
                        </a:rPr>
                        <a:t>Vs. 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rPr dirty="0"/>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rPr dirty="0"/>
                        <a:t>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helf </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Price</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Unit</a:t>
            </a:r>
          </a:p>
          <a:p>
            <a:pPr marL="0" marR="0" lvl="0" indent="0" defTabSz="685749"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Nexa Bold" panose="00000800000000000000" pitchFamily="2" charset="0"/>
              </a:rPr>
              <a:t>(</a:t>
            </a:r>
            <a:r>
              <a:rPr lang="en-US" sz="800" dirty="0">
                <a:solidFill>
                  <a:schemeClr val="tx1"/>
                </a:solidFill>
                <a:highlight>
                  <a:srgbClr val="FFFF00"/>
                </a:highlight>
                <a:latin typeface="Nexa Bold" panose="00000800000000000000" pitchFamily="2" charset="0"/>
              </a:rPr>
              <a:t>€</a:t>
            </a:r>
            <a:r>
              <a:rPr lang="en-US" sz="800" dirty="0">
                <a:solidFill>
                  <a:schemeClr val="tx1"/>
                </a:solidFill>
                <a:latin typeface="Nexa Bold" panose="00000800000000000000" pitchFamily="2" charset="0"/>
              </a:rPr>
              <a:t>)</a:t>
            </a:r>
            <a:endPar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endParaRP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Value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ales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M)</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8/11/2025</a:t>
            </a:fld>
            <a:endParaRPr lang="en-US" sz="500"/>
          </a:p>
        </p:txBody>
      </p:sp>
    </p:spTree>
    <p:extLst>
      <p:ext uri="{BB962C8B-B14F-4D97-AF65-F5344CB8AC3E}">
        <p14:creationId xmlns:p14="http://schemas.microsoft.com/office/powerpoint/2010/main" val="3010370230"/>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0</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r>
              <a:rPr lang="en-US" dirty="0"/>
              <a:t>Inter-size Discount  | </a:t>
            </a:r>
            <a:r>
              <a:rPr lang="en-US" dirty="0">
                <a:highlight>
                  <a:srgbClr val="FFFF00"/>
                </a:highlight>
              </a:rPr>
              <a:t>Variant</a:t>
            </a:r>
            <a:r>
              <a:rPr lang="en-US" dirty="0"/>
              <a:t> | </a:t>
            </a:r>
            <a:r>
              <a:rPr lang="en-US" dirty="0">
                <a:highlight>
                  <a:srgbClr val="FFFF00"/>
                </a:highlight>
              </a:rPr>
              <a:t>National</a:t>
            </a:r>
            <a:r>
              <a:rPr lang="en-US" dirty="0"/>
              <a:t> | P12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2800073758"/>
              </p:ext>
            </p:extLst>
          </p:nvPr>
        </p:nvGraphicFramePr>
        <p:xfrm>
          <a:off x="555229" y="4265104"/>
          <a:ext cx="7441138"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95492">
                  <a:extLst>
                    <a:ext uri="{9D8B030D-6E8A-4147-A177-3AD203B41FA5}">
                      <a16:colId xmlns:a16="http://schemas.microsoft.com/office/drawing/2014/main" val="2253286919"/>
                    </a:ext>
                  </a:extLst>
                </a:gridCol>
                <a:gridCol w="295492">
                  <a:extLst>
                    <a:ext uri="{9D8B030D-6E8A-4147-A177-3AD203B41FA5}">
                      <a16:colId xmlns:a16="http://schemas.microsoft.com/office/drawing/2014/main" val="2739285047"/>
                    </a:ext>
                  </a:extLst>
                </a:gridCol>
                <a:gridCol w="295492">
                  <a:extLst>
                    <a:ext uri="{9D8B030D-6E8A-4147-A177-3AD203B41FA5}">
                      <a16:colId xmlns:a16="http://schemas.microsoft.com/office/drawing/2014/main" val="686050863"/>
                    </a:ext>
                  </a:extLst>
                </a:gridCol>
                <a:gridCol w="295492">
                  <a:extLst>
                    <a:ext uri="{9D8B030D-6E8A-4147-A177-3AD203B41FA5}">
                      <a16:colId xmlns:a16="http://schemas.microsoft.com/office/drawing/2014/main" val="3765127706"/>
                    </a:ext>
                  </a:extLst>
                </a:gridCol>
                <a:gridCol w="295492">
                  <a:extLst>
                    <a:ext uri="{9D8B030D-6E8A-4147-A177-3AD203B41FA5}">
                      <a16:colId xmlns:a16="http://schemas.microsoft.com/office/drawing/2014/main" val="273303937"/>
                    </a:ext>
                  </a:extLst>
                </a:gridCol>
                <a:gridCol w="295492">
                  <a:extLst>
                    <a:ext uri="{9D8B030D-6E8A-4147-A177-3AD203B41FA5}">
                      <a16:colId xmlns:a16="http://schemas.microsoft.com/office/drawing/2014/main" val="1190134658"/>
                    </a:ext>
                  </a:extLst>
                </a:gridCol>
                <a:gridCol w="295492">
                  <a:extLst>
                    <a:ext uri="{9D8B030D-6E8A-4147-A177-3AD203B41FA5}">
                      <a16:colId xmlns:a16="http://schemas.microsoft.com/office/drawing/2014/main" val="1152288185"/>
                    </a:ext>
                  </a:extLst>
                </a:gridCol>
                <a:gridCol w="295492">
                  <a:extLst>
                    <a:ext uri="{9D8B030D-6E8A-4147-A177-3AD203B41FA5}">
                      <a16:colId xmlns:a16="http://schemas.microsoft.com/office/drawing/2014/main" val="1888319813"/>
                    </a:ext>
                  </a:extLst>
                </a:gridCol>
                <a:gridCol w="295492">
                  <a:extLst>
                    <a:ext uri="{9D8B030D-6E8A-4147-A177-3AD203B41FA5}">
                      <a16:colId xmlns:a16="http://schemas.microsoft.com/office/drawing/2014/main" val="3471064540"/>
                    </a:ext>
                  </a:extLst>
                </a:gridCol>
                <a:gridCol w="295492">
                  <a:extLst>
                    <a:ext uri="{9D8B030D-6E8A-4147-A177-3AD203B41FA5}">
                      <a16:colId xmlns:a16="http://schemas.microsoft.com/office/drawing/2014/main" val="670551899"/>
                    </a:ext>
                  </a:extLst>
                </a:gridCol>
                <a:gridCol w="295492">
                  <a:extLst>
                    <a:ext uri="{9D8B030D-6E8A-4147-A177-3AD203B41FA5}">
                      <a16:colId xmlns:a16="http://schemas.microsoft.com/office/drawing/2014/main" val="1100152168"/>
                    </a:ext>
                  </a:extLst>
                </a:gridCol>
                <a:gridCol w="295492">
                  <a:extLst>
                    <a:ext uri="{9D8B030D-6E8A-4147-A177-3AD203B41FA5}">
                      <a16:colId xmlns:a16="http://schemas.microsoft.com/office/drawing/2014/main" val="2165801595"/>
                    </a:ext>
                  </a:extLst>
                </a:gridCol>
                <a:gridCol w="295492">
                  <a:extLst>
                    <a:ext uri="{9D8B030D-6E8A-4147-A177-3AD203B41FA5}">
                      <a16:colId xmlns:a16="http://schemas.microsoft.com/office/drawing/2014/main" val="3981167565"/>
                    </a:ext>
                  </a:extLst>
                </a:gridCol>
                <a:gridCol w="295492">
                  <a:extLst>
                    <a:ext uri="{9D8B030D-6E8A-4147-A177-3AD203B41FA5}">
                      <a16:colId xmlns:a16="http://schemas.microsoft.com/office/drawing/2014/main" val="2740792325"/>
                    </a:ext>
                  </a:extLst>
                </a:gridCol>
                <a:gridCol w="295492">
                  <a:extLst>
                    <a:ext uri="{9D8B030D-6E8A-4147-A177-3AD203B41FA5}">
                      <a16:colId xmlns:a16="http://schemas.microsoft.com/office/drawing/2014/main" val="54782936"/>
                    </a:ext>
                  </a:extLst>
                </a:gridCol>
                <a:gridCol w="295492">
                  <a:extLst>
                    <a:ext uri="{9D8B030D-6E8A-4147-A177-3AD203B41FA5}">
                      <a16:colId xmlns:a16="http://schemas.microsoft.com/office/drawing/2014/main" val="154020430"/>
                    </a:ext>
                  </a:extLst>
                </a:gridCol>
                <a:gridCol w="295492">
                  <a:extLst>
                    <a:ext uri="{9D8B030D-6E8A-4147-A177-3AD203B41FA5}">
                      <a16:colId xmlns:a16="http://schemas.microsoft.com/office/drawing/2014/main" val="3928813835"/>
                    </a:ext>
                  </a:extLst>
                </a:gridCol>
                <a:gridCol w="295492">
                  <a:extLst>
                    <a:ext uri="{9D8B030D-6E8A-4147-A177-3AD203B41FA5}">
                      <a16:colId xmlns:a16="http://schemas.microsoft.com/office/drawing/2014/main" val="4210253042"/>
                    </a:ext>
                  </a:extLst>
                </a:gridCol>
                <a:gridCol w="295492">
                  <a:extLst>
                    <a:ext uri="{9D8B030D-6E8A-4147-A177-3AD203B41FA5}">
                      <a16:colId xmlns:a16="http://schemas.microsoft.com/office/drawing/2014/main" val="895787419"/>
                    </a:ext>
                  </a:extLst>
                </a:gridCol>
                <a:gridCol w="295492">
                  <a:extLst>
                    <a:ext uri="{9D8B030D-6E8A-4147-A177-3AD203B41FA5}">
                      <a16:colId xmlns:a16="http://schemas.microsoft.com/office/drawing/2014/main" val="3828388578"/>
                    </a:ext>
                  </a:extLst>
                </a:gridCol>
                <a:gridCol w="295492">
                  <a:extLst>
                    <a:ext uri="{9D8B030D-6E8A-4147-A177-3AD203B41FA5}">
                      <a16:colId xmlns:a16="http://schemas.microsoft.com/office/drawing/2014/main" val="742550205"/>
                    </a:ext>
                  </a:extLst>
                </a:gridCol>
                <a:gridCol w="295492">
                  <a:extLst>
                    <a:ext uri="{9D8B030D-6E8A-4147-A177-3AD203B41FA5}">
                      <a16:colId xmlns:a16="http://schemas.microsoft.com/office/drawing/2014/main" val="1408879461"/>
                    </a:ext>
                  </a:extLst>
                </a:gridCol>
              </a:tblGrid>
              <a:tr h="251292">
                <a:tc>
                  <a:txBody>
                    <a:bodyPr/>
                    <a:lstStyle/>
                    <a:p>
                      <a:r>
                        <a:rPr lang="en-US" sz="800" b="1" i="0" dirty="0">
                          <a:solidFill>
                            <a:schemeClr val="bg1"/>
                          </a:solidFill>
                          <a:latin typeface="+mj-lt"/>
                        </a:rPr>
                        <a:t>Sales </a:t>
                      </a:r>
                      <a:r>
                        <a:rPr lang="en-US" sz="800" b="1" i="0">
                          <a:solidFill>
                            <a:schemeClr val="bg1"/>
                          </a:solidFill>
                          <a:latin typeface="+mj-lt"/>
                        </a:rPr>
                        <a:t>Vs. 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rPr dirty="0"/>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rPr dirty="0"/>
                        <a:t>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helf </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Price</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Unit</a:t>
            </a:r>
          </a:p>
          <a:p>
            <a:pPr marL="0" marR="0" lvl="0" indent="0" defTabSz="685749"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Nexa Bold" panose="00000800000000000000" pitchFamily="2" charset="0"/>
              </a:rPr>
              <a:t>(</a:t>
            </a:r>
            <a:r>
              <a:rPr lang="en-US" sz="800" dirty="0">
                <a:solidFill>
                  <a:schemeClr val="tx1"/>
                </a:solidFill>
                <a:highlight>
                  <a:srgbClr val="FFFF00"/>
                </a:highlight>
                <a:latin typeface="Nexa Bold" panose="00000800000000000000" pitchFamily="2" charset="0"/>
              </a:rPr>
              <a:t>€</a:t>
            </a:r>
            <a:r>
              <a:rPr lang="en-US" sz="800" dirty="0">
                <a:solidFill>
                  <a:schemeClr val="tx1"/>
                </a:solidFill>
                <a:latin typeface="Nexa Bold" panose="00000800000000000000" pitchFamily="2" charset="0"/>
              </a:rPr>
              <a:t>)</a:t>
            </a:r>
            <a:endPar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endParaRP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Value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ales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M)</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8/11/2025</a:t>
            </a:fld>
            <a:endParaRPr lang="en-US" sz="500"/>
          </a:p>
        </p:txBody>
      </p:sp>
    </p:spTree>
    <p:extLst>
      <p:ext uri="{BB962C8B-B14F-4D97-AF65-F5344CB8AC3E}">
        <p14:creationId xmlns:p14="http://schemas.microsoft.com/office/powerpoint/2010/main" val="3543229252"/>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1</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r>
              <a:rPr lang="en-US" dirty="0"/>
              <a:t>Inter-size Discount  | </a:t>
            </a:r>
            <a:r>
              <a:rPr lang="en-US" dirty="0">
                <a:highlight>
                  <a:srgbClr val="FFFF00"/>
                </a:highlight>
              </a:rPr>
              <a:t>Variant</a:t>
            </a:r>
            <a:r>
              <a:rPr lang="en-US" dirty="0"/>
              <a:t> | </a:t>
            </a:r>
            <a:r>
              <a:rPr lang="en-US" dirty="0">
                <a:highlight>
                  <a:srgbClr val="FFFF00"/>
                </a:highlight>
              </a:rPr>
              <a:t>National</a:t>
            </a:r>
            <a:r>
              <a:rPr lang="en-US" dirty="0"/>
              <a:t> | P12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2800073758"/>
              </p:ext>
            </p:extLst>
          </p:nvPr>
        </p:nvGraphicFramePr>
        <p:xfrm>
          <a:off x="555229" y="4265104"/>
          <a:ext cx="7441138"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95492">
                  <a:extLst>
                    <a:ext uri="{9D8B030D-6E8A-4147-A177-3AD203B41FA5}">
                      <a16:colId xmlns:a16="http://schemas.microsoft.com/office/drawing/2014/main" val="2253286919"/>
                    </a:ext>
                  </a:extLst>
                </a:gridCol>
                <a:gridCol w="295492">
                  <a:extLst>
                    <a:ext uri="{9D8B030D-6E8A-4147-A177-3AD203B41FA5}">
                      <a16:colId xmlns:a16="http://schemas.microsoft.com/office/drawing/2014/main" val="2739285047"/>
                    </a:ext>
                  </a:extLst>
                </a:gridCol>
                <a:gridCol w="295492">
                  <a:extLst>
                    <a:ext uri="{9D8B030D-6E8A-4147-A177-3AD203B41FA5}">
                      <a16:colId xmlns:a16="http://schemas.microsoft.com/office/drawing/2014/main" val="686050863"/>
                    </a:ext>
                  </a:extLst>
                </a:gridCol>
                <a:gridCol w="295492">
                  <a:extLst>
                    <a:ext uri="{9D8B030D-6E8A-4147-A177-3AD203B41FA5}">
                      <a16:colId xmlns:a16="http://schemas.microsoft.com/office/drawing/2014/main" val="3765127706"/>
                    </a:ext>
                  </a:extLst>
                </a:gridCol>
                <a:gridCol w="295492">
                  <a:extLst>
                    <a:ext uri="{9D8B030D-6E8A-4147-A177-3AD203B41FA5}">
                      <a16:colId xmlns:a16="http://schemas.microsoft.com/office/drawing/2014/main" val="273303937"/>
                    </a:ext>
                  </a:extLst>
                </a:gridCol>
                <a:gridCol w="295492">
                  <a:extLst>
                    <a:ext uri="{9D8B030D-6E8A-4147-A177-3AD203B41FA5}">
                      <a16:colId xmlns:a16="http://schemas.microsoft.com/office/drawing/2014/main" val="1190134658"/>
                    </a:ext>
                  </a:extLst>
                </a:gridCol>
                <a:gridCol w="295492">
                  <a:extLst>
                    <a:ext uri="{9D8B030D-6E8A-4147-A177-3AD203B41FA5}">
                      <a16:colId xmlns:a16="http://schemas.microsoft.com/office/drawing/2014/main" val="1152288185"/>
                    </a:ext>
                  </a:extLst>
                </a:gridCol>
                <a:gridCol w="295492">
                  <a:extLst>
                    <a:ext uri="{9D8B030D-6E8A-4147-A177-3AD203B41FA5}">
                      <a16:colId xmlns:a16="http://schemas.microsoft.com/office/drawing/2014/main" val="1888319813"/>
                    </a:ext>
                  </a:extLst>
                </a:gridCol>
                <a:gridCol w="295492">
                  <a:extLst>
                    <a:ext uri="{9D8B030D-6E8A-4147-A177-3AD203B41FA5}">
                      <a16:colId xmlns:a16="http://schemas.microsoft.com/office/drawing/2014/main" val="3471064540"/>
                    </a:ext>
                  </a:extLst>
                </a:gridCol>
                <a:gridCol w="295492">
                  <a:extLst>
                    <a:ext uri="{9D8B030D-6E8A-4147-A177-3AD203B41FA5}">
                      <a16:colId xmlns:a16="http://schemas.microsoft.com/office/drawing/2014/main" val="670551899"/>
                    </a:ext>
                  </a:extLst>
                </a:gridCol>
                <a:gridCol w="295492">
                  <a:extLst>
                    <a:ext uri="{9D8B030D-6E8A-4147-A177-3AD203B41FA5}">
                      <a16:colId xmlns:a16="http://schemas.microsoft.com/office/drawing/2014/main" val="1100152168"/>
                    </a:ext>
                  </a:extLst>
                </a:gridCol>
                <a:gridCol w="295492">
                  <a:extLst>
                    <a:ext uri="{9D8B030D-6E8A-4147-A177-3AD203B41FA5}">
                      <a16:colId xmlns:a16="http://schemas.microsoft.com/office/drawing/2014/main" val="2165801595"/>
                    </a:ext>
                  </a:extLst>
                </a:gridCol>
                <a:gridCol w="295492">
                  <a:extLst>
                    <a:ext uri="{9D8B030D-6E8A-4147-A177-3AD203B41FA5}">
                      <a16:colId xmlns:a16="http://schemas.microsoft.com/office/drawing/2014/main" val="3981167565"/>
                    </a:ext>
                  </a:extLst>
                </a:gridCol>
                <a:gridCol w="295492">
                  <a:extLst>
                    <a:ext uri="{9D8B030D-6E8A-4147-A177-3AD203B41FA5}">
                      <a16:colId xmlns:a16="http://schemas.microsoft.com/office/drawing/2014/main" val="2740792325"/>
                    </a:ext>
                  </a:extLst>
                </a:gridCol>
                <a:gridCol w="295492">
                  <a:extLst>
                    <a:ext uri="{9D8B030D-6E8A-4147-A177-3AD203B41FA5}">
                      <a16:colId xmlns:a16="http://schemas.microsoft.com/office/drawing/2014/main" val="54782936"/>
                    </a:ext>
                  </a:extLst>
                </a:gridCol>
                <a:gridCol w="295492">
                  <a:extLst>
                    <a:ext uri="{9D8B030D-6E8A-4147-A177-3AD203B41FA5}">
                      <a16:colId xmlns:a16="http://schemas.microsoft.com/office/drawing/2014/main" val="154020430"/>
                    </a:ext>
                  </a:extLst>
                </a:gridCol>
                <a:gridCol w="295492">
                  <a:extLst>
                    <a:ext uri="{9D8B030D-6E8A-4147-A177-3AD203B41FA5}">
                      <a16:colId xmlns:a16="http://schemas.microsoft.com/office/drawing/2014/main" val="3928813835"/>
                    </a:ext>
                  </a:extLst>
                </a:gridCol>
                <a:gridCol w="295492">
                  <a:extLst>
                    <a:ext uri="{9D8B030D-6E8A-4147-A177-3AD203B41FA5}">
                      <a16:colId xmlns:a16="http://schemas.microsoft.com/office/drawing/2014/main" val="4210253042"/>
                    </a:ext>
                  </a:extLst>
                </a:gridCol>
                <a:gridCol w="295492">
                  <a:extLst>
                    <a:ext uri="{9D8B030D-6E8A-4147-A177-3AD203B41FA5}">
                      <a16:colId xmlns:a16="http://schemas.microsoft.com/office/drawing/2014/main" val="895787419"/>
                    </a:ext>
                  </a:extLst>
                </a:gridCol>
                <a:gridCol w="295492">
                  <a:extLst>
                    <a:ext uri="{9D8B030D-6E8A-4147-A177-3AD203B41FA5}">
                      <a16:colId xmlns:a16="http://schemas.microsoft.com/office/drawing/2014/main" val="3828388578"/>
                    </a:ext>
                  </a:extLst>
                </a:gridCol>
                <a:gridCol w="295492">
                  <a:extLst>
                    <a:ext uri="{9D8B030D-6E8A-4147-A177-3AD203B41FA5}">
                      <a16:colId xmlns:a16="http://schemas.microsoft.com/office/drawing/2014/main" val="742550205"/>
                    </a:ext>
                  </a:extLst>
                </a:gridCol>
                <a:gridCol w="295492">
                  <a:extLst>
                    <a:ext uri="{9D8B030D-6E8A-4147-A177-3AD203B41FA5}">
                      <a16:colId xmlns:a16="http://schemas.microsoft.com/office/drawing/2014/main" val="1408879461"/>
                    </a:ext>
                  </a:extLst>
                </a:gridCol>
              </a:tblGrid>
              <a:tr h="251292">
                <a:tc>
                  <a:txBody>
                    <a:bodyPr/>
                    <a:lstStyle/>
                    <a:p>
                      <a:r>
                        <a:rPr lang="en-US" sz="800" b="1" i="0" dirty="0">
                          <a:solidFill>
                            <a:schemeClr val="bg1"/>
                          </a:solidFill>
                          <a:latin typeface="+mj-lt"/>
                        </a:rPr>
                        <a:t>Sales </a:t>
                      </a:r>
                      <a:r>
                        <a:rPr lang="en-US" sz="800" b="1" i="0">
                          <a:solidFill>
                            <a:schemeClr val="bg1"/>
                          </a:solidFill>
                          <a:latin typeface="+mj-lt"/>
                        </a:rPr>
                        <a:t>Vs. 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rPr dirty="0"/>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rPr dirty="0"/>
                        <a:t>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helf </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Price</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Unit</a:t>
            </a:r>
          </a:p>
          <a:p>
            <a:pPr marL="0" marR="0" lvl="0" indent="0" defTabSz="685749"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Nexa Bold" panose="00000800000000000000" pitchFamily="2" charset="0"/>
              </a:rPr>
              <a:t>(</a:t>
            </a:r>
            <a:r>
              <a:rPr lang="en-US" sz="800" dirty="0">
                <a:solidFill>
                  <a:schemeClr val="tx1"/>
                </a:solidFill>
                <a:highlight>
                  <a:srgbClr val="FFFF00"/>
                </a:highlight>
                <a:latin typeface="Nexa Bold" panose="00000800000000000000" pitchFamily="2" charset="0"/>
              </a:rPr>
              <a:t>€</a:t>
            </a:r>
            <a:r>
              <a:rPr lang="en-US" sz="800" dirty="0">
                <a:solidFill>
                  <a:schemeClr val="tx1"/>
                </a:solidFill>
                <a:latin typeface="Nexa Bold" panose="00000800000000000000" pitchFamily="2" charset="0"/>
              </a:rPr>
              <a:t>)</a:t>
            </a:r>
            <a:endPar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endParaRP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Value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ales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M)</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8/11/2025</a:t>
            </a:fld>
            <a:endParaRPr lang="en-US" sz="500"/>
          </a:p>
        </p:txBody>
      </p:sp>
    </p:spTree>
    <p:extLst>
      <p:ext uri="{BB962C8B-B14F-4D97-AF65-F5344CB8AC3E}">
        <p14:creationId xmlns:p14="http://schemas.microsoft.com/office/powerpoint/2010/main" val="1642058543"/>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2</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r>
              <a:rPr lang="en-US" dirty="0"/>
              <a:t>Inter-size Discount  | </a:t>
            </a:r>
            <a:r>
              <a:rPr lang="en-US" dirty="0">
                <a:highlight>
                  <a:srgbClr val="FFFF00"/>
                </a:highlight>
              </a:rPr>
              <a:t>Variant</a:t>
            </a:r>
            <a:r>
              <a:rPr lang="en-US" dirty="0"/>
              <a:t> | </a:t>
            </a:r>
            <a:r>
              <a:rPr lang="en-US" dirty="0">
                <a:highlight>
                  <a:srgbClr val="FFFF00"/>
                </a:highlight>
              </a:rPr>
              <a:t>National</a:t>
            </a:r>
            <a:r>
              <a:rPr lang="en-US" dirty="0"/>
              <a:t> | P12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2800073758"/>
              </p:ext>
            </p:extLst>
          </p:nvPr>
        </p:nvGraphicFramePr>
        <p:xfrm>
          <a:off x="555229" y="4265104"/>
          <a:ext cx="7441138"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95492">
                  <a:extLst>
                    <a:ext uri="{9D8B030D-6E8A-4147-A177-3AD203B41FA5}">
                      <a16:colId xmlns:a16="http://schemas.microsoft.com/office/drawing/2014/main" val="2253286919"/>
                    </a:ext>
                  </a:extLst>
                </a:gridCol>
                <a:gridCol w="295492">
                  <a:extLst>
                    <a:ext uri="{9D8B030D-6E8A-4147-A177-3AD203B41FA5}">
                      <a16:colId xmlns:a16="http://schemas.microsoft.com/office/drawing/2014/main" val="2739285047"/>
                    </a:ext>
                  </a:extLst>
                </a:gridCol>
                <a:gridCol w="295492">
                  <a:extLst>
                    <a:ext uri="{9D8B030D-6E8A-4147-A177-3AD203B41FA5}">
                      <a16:colId xmlns:a16="http://schemas.microsoft.com/office/drawing/2014/main" val="686050863"/>
                    </a:ext>
                  </a:extLst>
                </a:gridCol>
                <a:gridCol w="295492">
                  <a:extLst>
                    <a:ext uri="{9D8B030D-6E8A-4147-A177-3AD203B41FA5}">
                      <a16:colId xmlns:a16="http://schemas.microsoft.com/office/drawing/2014/main" val="3765127706"/>
                    </a:ext>
                  </a:extLst>
                </a:gridCol>
                <a:gridCol w="295492">
                  <a:extLst>
                    <a:ext uri="{9D8B030D-6E8A-4147-A177-3AD203B41FA5}">
                      <a16:colId xmlns:a16="http://schemas.microsoft.com/office/drawing/2014/main" val="273303937"/>
                    </a:ext>
                  </a:extLst>
                </a:gridCol>
                <a:gridCol w="295492">
                  <a:extLst>
                    <a:ext uri="{9D8B030D-6E8A-4147-A177-3AD203B41FA5}">
                      <a16:colId xmlns:a16="http://schemas.microsoft.com/office/drawing/2014/main" val="1190134658"/>
                    </a:ext>
                  </a:extLst>
                </a:gridCol>
                <a:gridCol w="295492">
                  <a:extLst>
                    <a:ext uri="{9D8B030D-6E8A-4147-A177-3AD203B41FA5}">
                      <a16:colId xmlns:a16="http://schemas.microsoft.com/office/drawing/2014/main" val="1152288185"/>
                    </a:ext>
                  </a:extLst>
                </a:gridCol>
                <a:gridCol w="295492">
                  <a:extLst>
                    <a:ext uri="{9D8B030D-6E8A-4147-A177-3AD203B41FA5}">
                      <a16:colId xmlns:a16="http://schemas.microsoft.com/office/drawing/2014/main" val="1888319813"/>
                    </a:ext>
                  </a:extLst>
                </a:gridCol>
                <a:gridCol w="295492">
                  <a:extLst>
                    <a:ext uri="{9D8B030D-6E8A-4147-A177-3AD203B41FA5}">
                      <a16:colId xmlns:a16="http://schemas.microsoft.com/office/drawing/2014/main" val="3471064540"/>
                    </a:ext>
                  </a:extLst>
                </a:gridCol>
                <a:gridCol w="295492">
                  <a:extLst>
                    <a:ext uri="{9D8B030D-6E8A-4147-A177-3AD203B41FA5}">
                      <a16:colId xmlns:a16="http://schemas.microsoft.com/office/drawing/2014/main" val="670551899"/>
                    </a:ext>
                  </a:extLst>
                </a:gridCol>
                <a:gridCol w="295492">
                  <a:extLst>
                    <a:ext uri="{9D8B030D-6E8A-4147-A177-3AD203B41FA5}">
                      <a16:colId xmlns:a16="http://schemas.microsoft.com/office/drawing/2014/main" val="1100152168"/>
                    </a:ext>
                  </a:extLst>
                </a:gridCol>
                <a:gridCol w="295492">
                  <a:extLst>
                    <a:ext uri="{9D8B030D-6E8A-4147-A177-3AD203B41FA5}">
                      <a16:colId xmlns:a16="http://schemas.microsoft.com/office/drawing/2014/main" val="2165801595"/>
                    </a:ext>
                  </a:extLst>
                </a:gridCol>
                <a:gridCol w="295492">
                  <a:extLst>
                    <a:ext uri="{9D8B030D-6E8A-4147-A177-3AD203B41FA5}">
                      <a16:colId xmlns:a16="http://schemas.microsoft.com/office/drawing/2014/main" val="3981167565"/>
                    </a:ext>
                  </a:extLst>
                </a:gridCol>
                <a:gridCol w="295492">
                  <a:extLst>
                    <a:ext uri="{9D8B030D-6E8A-4147-A177-3AD203B41FA5}">
                      <a16:colId xmlns:a16="http://schemas.microsoft.com/office/drawing/2014/main" val="2740792325"/>
                    </a:ext>
                  </a:extLst>
                </a:gridCol>
                <a:gridCol w="295492">
                  <a:extLst>
                    <a:ext uri="{9D8B030D-6E8A-4147-A177-3AD203B41FA5}">
                      <a16:colId xmlns:a16="http://schemas.microsoft.com/office/drawing/2014/main" val="54782936"/>
                    </a:ext>
                  </a:extLst>
                </a:gridCol>
                <a:gridCol w="295492">
                  <a:extLst>
                    <a:ext uri="{9D8B030D-6E8A-4147-A177-3AD203B41FA5}">
                      <a16:colId xmlns:a16="http://schemas.microsoft.com/office/drawing/2014/main" val="154020430"/>
                    </a:ext>
                  </a:extLst>
                </a:gridCol>
                <a:gridCol w="295492">
                  <a:extLst>
                    <a:ext uri="{9D8B030D-6E8A-4147-A177-3AD203B41FA5}">
                      <a16:colId xmlns:a16="http://schemas.microsoft.com/office/drawing/2014/main" val="3928813835"/>
                    </a:ext>
                  </a:extLst>
                </a:gridCol>
                <a:gridCol w="295492">
                  <a:extLst>
                    <a:ext uri="{9D8B030D-6E8A-4147-A177-3AD203B41FA5}">
                      <a16:colId xmlns:a16="http://schemas.microsoft.com/office/drawing/2014/main" val="4210253042"/>
                    </a:ext>
                  </a:extLst>
                </a:gridCol>
                <a:gridCol w="295492">
                  <a:extLst>
                    <a:ext uri="{9D8B030D-6E8A-4147-A177-3AD203B41FA5}">
                      <a16:colId xmlns:a16="http://schemas.microsoft.com/office/drawing/2014/main" val="895787419"/>
                    </a:ext>
                  </a:extLst>
                </a:gridCol>
                <a:gridCol w="295492">
                  <a:extLst>
                    <a:ext uri="{9D8B030D-6E8A-4147-A177-3AD203B41FA5}">
                      <a16:colId xmlns:a16="http://schemas.microsoft.com/office/drawing/2014/main" val="3828388578"/>
                    </a:ext>
                  </a:extLst>
                </a:gridCol>
                <a:gridCol w="295492">
                  <a:extLst>
                    <a:ext uri="{9D8B030D-6E8A-4147-A177-3AD203B41FA5}">
                      <a16:colId xmlns:a16="http://schemas.microsoft.com/office/drawing/2014/main" val="742550205"/>
                    </a:ext>
                  </a:extLst>
                </a:gridCol>
                <a:gridCol w="295492">
                  <a:extLst>
                    <a:ext uri="{9D8B030D-6E8A-4147-A177-3AD203B41FA5}">
                      <a16:colId xmlns:a16="http://schemas.microsoft.com/office/drawing/2014/main" val="1408879461"/>
                    </a:ext>
                  </a:extLst>
                </a:gridCol>
              </a:tblGrid>
              <a:tr h="251292">
                <a:tc>
                  <a:txBody>
                    <a:bodyPr/>
                    <a:lstStyle/>
                    <a:p>
                      <a:r>
                        <a:rPr lang="en-US" sz="800" b="1" i="0" dirty="0">
                          <a:solidFill>
                            <a:schemeClr val="bg1"/>
                          </a:solidFill>
                          <a:latin typeface="+mj-lt"/>
                        </a:rPr>
                        <a:t>Sales </a:t>
                      </a:r>
                      <a:r>
                        <a:rPr lang="en-US" sz="800" b="1" i="0">
                          <a:solidFill>
                            <a:schemeClr val="bg1"/>
                          </a:solidFill>
                          <a:latin typeface="+mj-lt"/>
                        </a:rPr>
                        <a:t>Vs. 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rPr dirty="0"/>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rPr dirty="0"/>
                        <a:t>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helf </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Price</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Unit</a:t>
            </a:r>
          </a:p>
          <a:p>
            <a:pPr marL="0" marR="0" lvl="0" indent="0" defTabSz="685749"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Nexa Bold" panose="00000800000000000000" pitchFamily="2" charset="0"/>
              </a:rPr>
              <a:t>(</a:t>
            </a:r>
            <a:r>
              <a:rPr lang="en-US" sz="800" dirty="0">
                <a:solidFill>
                  <a:schemeClr val="tx1"/>
                </a:solidFill>
                <a:highlight>
                  <a:srgbClr val="FFFF00"/>
                </a:highlight>
                <a:latin typeface="Nexa Bold" panose="00000800000000000000" pitchFamily="2" charset="0"/>
              </a:rPr>
              <a:t>€</a:t>
            </a:r>
            <a:r>
              <a:rPr lang="en-US" sz="800" dirty="0">
                <a:solidFill>
                  <a:schemeClr val="tx1"/>
                </a:solidFill>
                <a:latin typeface="Nexa Bold" panose="00000800000000000000" pitchFamily="2" charset="0"/>
              </a:rPr>
              <a:t>)</a:t>
            </a:r>
            <a:endPar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endParaRP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Value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ales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M)</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8/11/2025</a:t>
            </a:fld>
            <a:endParaRPr lang="en-US" sz="500"/>
          </a:p>
        </p:txBody>
      </p:sp>
    </p:spTree>
    <p:extLst>
      <p:ext uri="{BB962C8B-B14F-4D97-AF65-F5344CB8AC3E}">
        <p14:creationId xmlns:p14="http://schemas.microsoft.com/office/powerpoint/2010/main" val="377241594"/>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3</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r>
              <a:rPr lang="en-US" dirty="0"/>
              <a:t>Inter-size Discount  | </a:t>
            </a:r>
            <a:r>
              <a:rPr lang="en-US" dirty="0">
                <a:highlight>
                  <a:srgbClr val="FFFF00"/>
                </a:highlight>
              </a:rPr>
              <a:t>Variant</a:t>
            </a:r>
            <a:r>
              <a:rPr lang="en-US" dirty="0"/>
              <a:t> | </a:t>
            </a:r>
            <a:r>
              <a:rPr lang="en-US" dirty="0">
                <a:highlight>
                  <a:srgbClr val="FFFF00"/>
                </a:highlight>
              </a:rPr>
              <a:t>National</a:t>
            </a:r>
            <a:r>
              <a:rPr lang="en-US" dirty="0"/>
              <a:t> | P12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2800073758"/>
              </p:ext>
            </p:extLst>
          </p:nvPr>
        </p:nvGraphicFramePr>
        <p:xfrm>
          <a:off x="555229" y="4265104"/>
          <a:ext cx="7441138"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95492">
                  <a:extLst>
                    <a:ext uri="{9D8B030D-6E8A-4147-A177-3AD203B41FA5}">
                      <a16:colId xmlns:a16="http://schemas.microsoft.com/office/drawing/2014/main" val="2253286919"/>
                    </a:ext>
                  </a:extLst>
                </a:gridCol>
                <a:gridCol w="295492">
                  <a:extLst>
                    <a:ext uri="{9D8B030D-6E8A-4147-A177-3AD203B41FA5}">
                      <a16:colId xmlns:a16="http://schemas.microsoft.com/office/drawing/2014/main" val="2739285047"/>
                    </a:ext>
                  </a:extLst>
                </a:gridCol>
                <a:gridCol w="295492">
                  <a:extLst>
                    <a:ext uri="{9D8B030D-6E8A-4147-A177-3AD203B41FA5}">
                      <a16:colId xmlns:a16="http://schemas.microsoft.com/office/drawing/2014/main" val="686050863"/>
                    </a:ext>
                  </a:extLst>
                </a:gridCol>
                <a:gridCol w="295492">
                  <a:extLst>
                    <a:ext uri="{9D8B030D-6E8A-4147-A177-3AD203B41FA5}">
                      <a16:colId xmlns:a16="http://schemas.microsoft.com/office/drawing/2014/main" val="3765127706"/>
                    </a:ext>
                  </a:extLst>
                </a:gridCol>
                <a:gridCol w="295492">
                  <a:extLst>
                    <a:ext uri="{9D8B030D-6E8A-4147-A177-3AD203B41FA5}">
                      <a16:colId xmlns:a16="http://schemas.microsoft.com/office/drawing/2014/main" val="273303937"/>
                    </a:ext>
                  </a:extLst>
                </a:gridCol>
                <a:gridCol w="295492">
                  <a:extLst>
                    <a:ext uri="{9D8B030D-6E8A-4147-A177-3AD203B41FA5}">
                      <a16:colId xmlns:a16="http://schemas.microsoft.com/office/drawing/2014/main" val="1190134658"/>
                    </a:ext>
                  </a:extLst>
                </a:gridCol>
                <a:gridCol w="295492">
                  <a:extLst>
                    <a:ext uri="{9D8B030D-6E8A-4147-A177-3AD203B41FA5}">
                      <a16:colId xmlns:a16="http://schemas.microsoft.com/office/drawing/2014/main" val="1152288185"/>
                    </a:ext>
                  </a:extLst>
                </a:gridCol>
                <a:gridCol w="295492">
                  <a:extLst>
                    <a:ext uri="{9D8B030D-6E8A-4147-A177-3AD203B41FA5}">
                      <a16:colId xmlns:a16="http://schemas.microsoft.com/office/drawing/2014/main" val="1888319813"/>
                    </a:ext>
                  </a:extLst>
                </a:gridCol>
                <a:gridCol w="295492">
                  <a:extLst>
                    <a:ext uri="{9D8B030D-6E8A-4147-A177-3AD203B41FA5}">
                      <a16:colId xmlns:a16="http://schemas.microsoft.com/office/drawing/2014/main" val="3471064540"/>
                    </a:ext>
                  </a:extLst>
                </a:gridCol>
                <a:gridCol w="295492">
                  <a:extLst>
                    <a:ext uri="{9D8B030D-6E8A-4147-A177-3AD203B41FA5}">
                      <a16:colId xmlns:a16="http://schemas.microsoft.com/office/drawing/2014/main" val="670551899"/>
                    </a:ext>
                  </a:extLst>
                </a:gridCol>
                <a:gridCol w="295492">
                  <a:extLst>
                    <a:ext uri="{9D8B030D-6E8A-4147-A177-3AD203B41FA5}">
                      <a16:colId xmlns:a16="http://schemas.microsoft.com/office/drawing/2014/main" val="1100152168"/>
                    </a:ext>
                  </a:extLst>
                </a:gridCol>
                <a:gridCol w="295492">
                  <a:extLst>
                    <a:ext uri="{9D8B030D-6E8A-4147-A177-3AD203B41FA5}">
                      <a16:colId xmlns:a16="http://schemas.microsoft.com/office/drawing/2014/main" val="2165801595"/>
                    </a:ext>
                  </a:extLst>
                </a:gridCol>
                <a:gridCol w="295492">
                  <a:extLst>
                    <a:ext uri="{9D8B030D-6E8A-4147-A177-3AD203B41FA5}">
                      <a16:colId xmlns:a16="http://schemas.microsoft.com/office/drawing/2014/main" val="3981167565"/>
                    </a:ext>
                  </a:extLst>
                </a:gridCol>
                <a:gridCol w="295492">
                  <a:extLst>
                    <a:ext uri="{9D8B030D-6E8A-4147-A177-3AD203B41FA5}">
                      <a16:colId xmlns:a16="http://schemas.microsoft.com/office/drawing/2014/main" val="2740792325"/>
                    </a:ext>
                  </a:extLst>
                </a:gridCol>
                <a:gridCol w="295492">
                  <a:extLst>
                    <a:ext uri="{9D8B030D-6E8A-4147-A177-3AD203B41FA5}">
                      <a16:colId xmlns:a16="http://schemas.microsoft.com/office/drawing/2014/main" val="54782936"/>
                    </a:ext>
                  </a:extLst>
                </a:gridCol>
                <a:gridCol w="295492">
                  <a:extLst>
                    <a:ext uri="{9D8B030D-6E8A-4147-A177-3AD203B41FA5}">
                      <a16:colId xmlns:a16="http://schemas.microsoft.com/office/drawing/2014/main" val="154020430"/>
                    </a:ext>
                  </a:extLst>
                </a:gridCol>
                <a:gridCol w="295492">
                  <a:extLst>
                    <a:ext uri="{9D8B030D-6E8A-4147-A177-3AD203B41FA5}">
                      <a16:colId xmlns:a16="http://schemas.microsoft.com/office/drawing/2014/main" val="3928813835"/>
                    </a:ext>
                  </a:extLst>
                </a:gridCol>
                <a:gridCol w="295492">
                  <a:extLst>
                    <a:ext uri="{9D8B030D-6E8A-4147-A177-3AD203B41FA5}">
                      <a16:colId xmlns:a16="http://schemas.microsoft.com/office/drawing/2014/main" val="4210253042"/>
                    </a:ext>
                  </a:extLst>
                </a:gridCol>
                <a:gridCol w="295492">
                  <a:extLst>
                    <a:ext uri="{9D8B030D-6E8A-4147-A177-3AD203B41FA5}">
                      <a16:colId xmlns:a16="http://schemas.microsoft.com/office/drawing/2014/main" val="895787419"/>
                    </a:ext>
                  </a:extLst>
                </a:gridCol>
                <a:gridCol w="295492">
                  <a:extLst>
                    <a:ext uri="{9D8B030D-6E8A-4147-A177-3AD203B41FA5}">
                      <a16:colId xmlns:a16="http://schemas.microsoft.com/office/drawing/2014/main" val="3828388578"/>
                    </a:ext>
                  </a:extLst>
                </a:gridCol>
                <a:gridCol w="295492">
                  <a:extLst>
                    <a:ext uri="{9D8B030D-6E8A-4147-A177-3AD203B41FA5}">
                      <a16:colId xmlns:a16="http://schemas.microsoft.com/office/drawing/2014/main" val="742550205"/>
                    </a:ext>
                  </a:extLst>
                </a:gridCol>
                <a:gridCol w="295492">
                  <a:extLst>
                    <a:ext uri="{9D8B030D-6E8A-4147-A177-3AD203B41FA5}">
                      <a16:colId xmlns:a16="http://schemas.microsoft.com/office/drawing/2014/main" val="1408879461"/>
                    </a:ext>
                  </a:extLst>
                </a:gridCol>
              </a:tblGrid>
              <a:tr h="251292">
                <a:tc>
                  <a:txBody>
                    <a:bodyPr/>
                    <a:lstStyle/>
                    <a:p>
                      <a:r>
                        <a:rPr lang="en-US" sz="800" b="1" i="0" dirty="0">
                          <a:solidFill>
                            <a:schemeClr val="bg1"/>
                          </a:solidFill>
                          <a:latin typeface="+mj-lt"/>
                        </a:rPr>
                        <a:t>Sales </a:t>
                      </a:r>
                      <a:r>
                        <a:rPr lang="en-US" sz="800" b="1" i="0">
                          <a:solidFill>
                            <a:schemeClr val="bg1"/>
                          </a:solidFill>
                          <a:latin typeface="+mj-lt"/>
                        </a:rPr>
                        <a:t>Vs. 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rPr dirty="0"/>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rPr dirty="0"/>
                        <a:t>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helf </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Price</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Unit</a:t>
            </a:r>
          </a:p>
          <a:p>
            <a:pPr marL="0" marR="0" lvl="0" indent="0" defTabSz="685749"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Nexa Bold" panose="00000800000000000000" pitchFamily="2" charset="0"/>
              </a:rPr>
              <a:t>(</a:t>
            </a:r>
            <a:r>
              <a:rPr lang="en-US" sz="800" dirty="0">
                <a:solidFill>
                  <a:schemeClr val="tx1"/>
                </a:solidFill>
                <a:highlight>
                  <a:srgbClr val="FFFF00"/>
                </a:highlight>
                <a:latin typeface="Nexa Bold" panose="00000800000000000000" pitchFamily="2" charset="0"/>
              </a:rPr>
              <a:t>€</a:t>
            </a:r>
            <a:r>
              <a:rPr lang="en-US" sz="800" dirty="0">
                <a:solidFill>
                  <a:schemeClr val="tx1"/>
                </a:solidFill>
                <a:latin typeface="Nexa Bold" panose="00000800000000000000" pitchFamily="2" charset="0"/>
              </a:rPr>
              <a:t>)</a:t>
            </a:r>
            <a:endPar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endParaRP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Value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ales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M)</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8/11/2025</a:t>
            </a:fld>
            <a:endParaRPr lang="en-US" sz="500"/>
          </a:p>
        </p:txBody>
      </p:sp>
    </p:spTree>
    <p:extLst>
      <p:ext uri="{BB962C8B-B14F-4D97-AF65-F5344CB8AC3E}">
        <p14:creationId xmlns:p14="http://schemas.microsoft.com/office/powerpoint/2010/main" val="2457528445"/>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4</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r>
              <a:rPr lang="en-US" dirty="0"/>
              <a:t>Inter-size Discount  | </a:t>
            </a:r>
            <a:r>
              <a:rPr lang="en-US" dirty="0">
                <a:highlight>
                  <a:srgbClr val="FFFF00"/>
                </a:highlight>
              </a:rPr>
              <a:t>Variant</a:t>
            </a:r>
            <a:r>
              <a:rPr lang="en-US" dirty="0"/>
              <a:t> | </a:t>
            </a:r>
            <a:r>
              <a:rPr lang="en-US" dirty="0">
                <a:highlight>
                  <a:srgbClr val="FFFF00"/>
                </a:highlight>
              </a:rPr>
              <a:t>National</a:t>
            </a:r>
            <a:r>
              <a:rPr lang="en-US" dirty="0"/>
              <a:t> | P12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2800073758"/>
              </p:ext>
            </p:extLst>
          </p:nvPr>
        </p:nvGraphicFramePr>
        <p:xfrm>
          <a:off x="555229" y="4265104"/>
          <a:ext cx="7441138"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95492">
                  <a:extLst>
                    <a:ext uri="{9D8B030D-6E8A-4147-A177-3AD203B41FA5}">
                      <a16:colId xmlns:a16="http://schemas.microsoft.com/office/drawing/2014/main" val="2253286919"/>
                    </a:ext>
                  </a:extLst>
                </a:gridCol>
                <a:gridCol w="295492">
                  <a:extLst>
                    <a:ext uri="{9D8B030D-6E8A-4147-A177-3AD203B41FA5}">
                      <a16:colId xmlns:a16="http://schemas.microsoft.com/office/drawing/2014/main" val="2739285047"/>
                    </a:ext>
                  </a:extLst>
                </a:gridCol>
                <a:gridCol w="295492">
                  <a:extLst>
                    <a:ext uri="{9D8B030D-6E8A-4147-A177-3AD203B41FA5}">
                      <a16:colId xmlns:a16="http://schemas.microsoft.com/office/drawing/2014/main" val="686050863"/>
                    </a:ext>
                  </a:extLst>
                </a:gridCol>
                <a:gridCol w="295492">
                  <a:extLst>
                    <a:ext uri="{9D8B030D-6E8A-4147-A177-3AD203B41FA5}">
                      <a16:colId xmlns:a16="http://schemas.microsoft.com/office/drawing/2014/main" val="3765127706"/>
                    </a:ext>
                  </a:extLst>
                </a:gridCol>
                <a:gridCol w="295492">
                  <a:extLst>
                    <a:ext uri="{9D8B030D-6E8A-4147-A177-3AD203B41FA5}">
                      <a16:colId xmlns:a16="http://schemas.microsoft.com/office/drawing/2014/main" val="273303937"/>
                    </a:ext>
                  </a:extLst>
                </a:gridCol>
                <a:gridCol w="295492">
                  <a:extLst>
                    <a:ext uri="{9D8B030D-6E8A-4147-A177-3AD203B41FA5}">
                      <a16:colId xmlns:a16="http://schemas.microsoft.com/office/drawing/2014/main" val="1190134658"/>
                    </a:ext>
                  </a:extLst>
                </a:gridCol>
                <a:gridCol w="295492">
                  <a:extLst>
                    <a:ext uri="{9D8B030D-6E8A-4147-A177-3AD203B41FA5}">
                      <a16:colId xmlns:a16="http://schemas.microsoft.com/office/drawing/2014/main" val="1152288185"/>
                    </a:ext>
                  </a:extLst>
                </a:gridCol>
                <a:gridCol w="295492">
                  <a:extLst>
                    <a:ext uri="{9D8B030D-6E8A-4147-A177-3AD203B41FA5}">
                      <a16:colId xmlns:a16="http://schemas.microsoft.com/office/drawing/2014/main" val="1888319813"/>
                    </a:ext>
                  </a:extLst>
                </a:gridCol>
                <a:gridCol w="295492">
                  <a:extLst>
                    <a:ext uri="{9D8B030D-6E8A-4147-A177-3AD203B41FA5}">
                      <a16:colId xmlns:a16="http://schemas.microsoft.com/office/drawing/2014/main" val="3471064540"/>
                    </a:ext>
                  </a:extLst>
                </a:gridCol>
                <a:gridCol w="295492">
                  <a:extLst>
                    <a:ext uri="{9D8B030D-6E8A-4147-A177-3AD203B41FA5}">
                      <a16:colId xmlns:a16="http://schemas.microsoft.com/office/drawing/2014/main" val="670551899"/>
                    </a:ext>
                  </a:extLst>
                </a:gridCol>
                <a:gridCol w="295492">
                  <a:extLst>
                    <a:ext uri="{9D8B030D-6E8A-4147-A177-3AD203B41FA5}">
                      <a16:colId xmlns:a16="http://schemas.microsoft.com/office/drawing/2014/main" val="1100152168"/>
                    </a:ext>
                  </a:extLst>
                </a:gridCol>
                <a:gridCol w="295492">
                  <a:extLst>
                    <a:ext uri="{9D8B030D-6E8A-4147-A177-3AD203B41FA5}">
                      <a16:colId xmlns:a16="http://schemas.microsoft.com/office/drawing/2014/main" val="2165801595"/>
                    </a:ext>
                  </a:extLst>
                </a:gridCol>
                <a:gridCol w="295492">
                  <a:extLst>
                    <a:ext uri="{9D8B030D-6E8A-4147-A177-3AD203B41FA5}">
                      <a16:colId xmlns:a16="http://schemas.microsoft.com/office/drawing/2014/main" val="3981167565"/>
                    </a:ext>
                  </a:extLst>
                </a:gridCol>
                <a:gridCol w="295492">
                  <a:extLst>
                    <a:ext uri="{9D8B030D-6E8A-4147-A177-3AD203B41FA5}">
                      <a16:colId xmlns:a16="http://schemas.microsoft.com/office/drawing/2014/main" val="2740792325"/>
                    </a:ext>
                  </a:extLst>
                </a:gridCol>
                <a:gridCol w="295492">
                  <a:extLst>
                    <a:ext uri="{9D8B030D-6E8A-4147-A177-3AD203B41FA5}">
                      <a16:colId xmlns:a16="http://schemas.microsoft.com/office/drawing/2014/main" val="54782936"/>
                    </a:ext>
                  </a:extLst>
                </a:gridCol>
                <a:gridCol w="295492">
                  <a:extLst>
                    <a:ext uri="{9D8B030D-6E8A-4147-A177-3AD203B41FA5}">
                      <a16:colId xmlns:a16="http://schemas.microsoft.com/office/drawing/2014/main" val="154020430"/>
                    </a:ext>
                  </a:extLst>
                </a:gridCol>
                <a:gridCol w="295492">
                  <a:extLst>
                    <a:ext uri="{9D8B030D-6E8A-4147-A177-3AD203B41FA5}">
                      <a16:colId xmlns:a16="http://schemas.microsoft.com/office/drawing/2014/main" val="3928813835"/>
                    </a:ext>
                  </a:extLst>
                </a:gridCol>
                <a:gridCol w="295492">
                  <a:extLst>
                    <a:ext uri="{9D8B030D-6E8A-4147-A177-3AD203B41FA5}">
                      <a16:colId xmlns:a16="http://schemas.microsoft.com/office/drawing/2014/main" val="4210253042"/>
                    </a:ext>
                  </a:extLst>
                </a:gridCol>
                <a:gridCol w="295492">
                  <a:extLst>
                    <a:ext uri="{9D8B030D-6E8A-4147-A177-3AD203B41FA5}">
                      <a16:colId xmlns:a16="http://schemas.microsoft.com/office/drawing/2014/main" val="895787419"/>
                    </a:ext>
                  </a:extLst>
                </a:gridCol>
                <a:gridCol w="295492">
                  <a:extLst>
                    <a:ext uri="{9D8B030D-6E8A-4147-A177-3AD203B41FA5}">
                      <a16:colId xmlns:a16="http://schemas.microsoft.com/office/drawing/2014/main" val="3828388578"/>
                    </a:ext>
                  </a:extLst>
                </a:gridCol>
                <a:gridCol w="295492">
                  <a:extLst>
                    <a:ext uri="{9D8B030D-6E8A-4147-A177-3AD203B41FA5}">
                      <a16:colId xmlns:a16="http://schemas.microsoft.com/office/drawing/2014/main" val="742550205"/>
                    </a:ext>
                  </a:extLst>
                </a:gridCol>
                <a:gridCol w="295492">
                  <a:extLst>
                    <a:ext uri="{9D8B030D-6E8A-4147-A177-3AD203B41FA5}">
                      <a16:colId xmlns:a16="http://schemas.microsoft.com/office/drawing/2014/main" val="1408879461"/>
                    </a:ext>
                  </a:extLst>
                </a:gridCol>
              </a:tblGrid>
              <a:tr h="251292">
                <a:tc>
                  <a:txBody>
                    <a:bodyPr/>
                    <a:lstStyle/>
                    <a:p>
                      <a:r>
                        <a:rPr lang="en-US" sz="800" b="1" i="0" dirty="0">
                          <a:solidFill>
                            <a:schemeClr val="bg1"/>
                          </a:solidFill>
                          <a:latin typeface="+mj-lt"/>
                        </a:rPr>
                        <a:t>Sales </a:t>
                      </a:r>
                      <a:r>
                        <a:rPr lang="en-US" sz="800" b="1" i="0">
                          <a:solidFill>
                            <a:schemeClr val="bg1"/>
                          </a:solidFill>
                          <a:latin typeface="+mj-lt"/>
                        </a:rPr>
                        <a:t>Vs. 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rPr dirty="0"/>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rPr dirty="0"/>
                        <a:t>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helf </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Price</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Unit</a:t>
            </a:r>
          </a:p>
          <a:p>
            <a:pPr marL="0" marR="0" lvl="0" indent="0" defTabSz="685749"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Nexa Bold" panose="00000800000000000000" pitchFamily="2" charset="0"/>
              </a:rPr>
              <a:t>(</a:t>
            </a:r>
            <a:r>
              <a:rPr lang="en-US" sz="800" dirty="0">
                <a:solidFill>
                  <a:schemeClr val="tx1"/>
                </a:solidFill>
                <a:highlight>
                  <a:srgbClr val="FFFF00"/>
                </a:highlight>
                <a:latin typeface="Nexa Bold" panose="00000800000000000000" pitchFamily="2" charset="0"/>
              </a:rPr>
              <a:t>€</a:t>
            </a:r>
            <a:r>
              <a:rPr lang="en-US" sz="800" dirty="0">
                <a:solidFill>
                  <a:schemeClr val="tx1"/>
                </a:solidFill>
                <a:latin typeface="Nexa Bold" panose="00000800000000000000" pitchFamily="2" charset="0"/>
              </a:rPr>
              <a:t>)</a:t>
            </a:r>
            <a:endPar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endParaRP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Value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ales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M)</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8/11/2025</a:t>
            </a:fld>
            <a:endParaRPr lang="en-US" sz="500"/>
          </a:p>
        </p:txBody>
      </p:sp>
    </p:spTree>
    <p:extLst>
      <p:ext uri="{BB962C8B-B14F-4D97-AF65-F5344CB8AC3E}">
        <p14:creationId xmlns:p14="http://schemas.microsoft.com/office/powerpoint/2010/main" val="3001198172"/>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5</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r>
              <a:rPr lang="en-US" dirty="0"/>
              <a:t>Inter-size Discount  | </a:t>
            </a:r>
            <a:r>
              <a:rPr lang="en-US" dirty="0">
                <a:highlight>
                  <a:srgbClr val="FFFF00"/>
                </a:highlight>
              </a:rPr>
              <a:t>Variant</a:t>
            </a:r>
            <a:r>
              <a:rPr lang="en-US" dirty="0"/>
              <a:t> | </a:t>
            </a:r>
            <a:r>
              <a:rPr lang="en-US" dirty="0">
                <a:highlight>
                  <a:srgbClr val="FFFF00"/>
                </a:highlight>
              </a:rPr>
              <a:t>National</a:t>
            </a:r>
            <a:r>
              <a:rPr lang="en-US" dirty="0"/>
              <a:t> | P12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2800073758"/>
              </p:ext>
            </p:extLst>
          </p:nvPr>
        </p:nvGraphicFramePr>
        <p:xfrm>
          <a:off x="555229" y="4265104"/>
          <a:ext cx="7441138"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95492">
                  <a:extLst>
                    <a:ext uri="{9D8B030D-6E8A-4147-A177-3AD203B41FA5}">
                      <a16:colId xmlns:a16="http://schemas.microsoft.com/office/drawing/2014/main" val="2253286919"/>
                    </a:ext>
                  </a:extLst>
                </a:gridCol>
                <a:gridCol w="295492">
                  <a:extLst>
                    <a:ext uri="{9D8B030D-6E8A-4147-A177-3AD203B41FA5}">
                      <a16:colId xmlns:a16="http://schemas.microsoft.com/office/drawing/2014/main" val="2739285047"/>
                    </a:ext>
                  </a:extLst>
                </a:gridCol>
                <a:gridCol w="295492">
                  <a:extLst>
                    <a:ext uri="{9D8B030D-6E8A-4147-A177-3AD203B41FA5}">
                      <a16:colId xmlns:a16="http://schemas.microsoft.com/office/drawing/2014/main" val="686050863"/>
                    </a:ext>
                  </a:extLst>
                </a:gridCol>
                <a:gridCol w="295492">
                  <a:extLst>
                    <a:ext uri="{9D8B030D-6E8A-4147-A177-3AD203B41FA5}">
                      <a16:colId xmlns:a16="http://schemas.microsoft.com/office/drawing/2014/main" val="3765127706"/>
                    </a:ext>
                  </a:extLst>
                </a:gridCol>
                <a:gridCol w="295492">
                  <a:extLst>
                    <a:ext uri="{9D8B030D-6E8A-4147-A177-3AD203B41FA5}">
                      <a16:colId xmlns:a16="http://schemas.microsoft.com/office/drawing/2014/main" val="273303937"/>
                    </a:ext>
                  </a:extLst>
                </a:gridCol>
                <a:gridCol w="295492">
                  <a:extLst>
                    <a:ext uri="{9D8B030D-6E8A-4147-A177-3AD203B41FA5}">
                      <a16:colId xmlns:a16="http://schemas.microsoft.com/office/drawing/2014/main" val="1190134658"/>
                    </a:ext>
                  </a:extLst>
                </a:gridCol>
                <a:gridCol w="295492">
                  <a:extLst>
                    <a:ext uri="{9D8B030D-6E8A-4147-A177-3AD203B41FA5}">
                      <a16:colId xmlns:a16="http://schemas.microsoft.com/office/drawing/2014/main" val="1152288185"/>
                    </a:ext>
                  </a:extLst>
                </a:gridCol>
                <a:gridCol w="295492">
                  <a:extLst>
                    <a:ext uri="{9D8B030D-6E8A-4147-A177-3AD203B41FA5}">
                      <a16:colId xmlns:a16="http://schemas.microsoft.com/office/drawing/2014/main" val="1888319813"/>
                    </a:ext>
                  </a:extLst>
                </a:gridCol>
                <a:gridCol w="295492">
                  <a:extLst>
                    <a:ext uri="{9D8B030D-6E8A-4147-A177-3AD203B41FA5}">
                      <a16:colId xmlns:a16="http://schemas.microsoft.com/office/drawing/2014/main" val="3471064540"/>
                    </a:ext>
                  </a:extLst>
                </a:gridCol>
                <a:gridCol w="295492">
                  <a:extLst>
                    <a:ext uri="{9D8B030D-6E8A-4147-A177-3AD203B41FA5}">
                      <a16:colId xmlns:a16="http://schemas.microsoft.com/office/drawing/2014/main" val="670551899"/>
                    </a:ext>
                  </a:extLst>
                </a:gridCol>
                <a:gridCol w="295492">
                  <a:extLst>
                    <a:ext uri="{9D8B030D-6E8A-4147-A177-3AD203B41FA5}">
                      <a16:colId xmlns:a16="http://schemas.microsoft.com/office/drawing/2014/main" val="1100152168"/>
                    </a:ext>
                  </a:extLst>
                </a:gridCol>
                <a:gridCol w="295492">
                  <a:extLst>
                    <a:ext uri="{9D8B030D-6E8A-4147-A177-3AD203B41FA5}">
                      <a16:colId xmlns:a16="http://schemas.microsoft.com/office/drawing/2014/main" val="2165801595"/>
                    </a:ext>
                  </a:extLst>
                </a:gridCol>
                <a:gridCol w="295492">
                  <a:extLst>
                    <a:ext uri="{9D8B030D-6E8A-4147-A177-3AD203B41FA5}">
                      <a16:colId xmlns:a16="http://schemas.microsoft.com/office/drawing/2014/main" val="3981167565"/>
                    </a:ext>
                  </a:extLst>
                </a:gridCol>
                <a:gridCol w="295492">
                  <a:extLst>
                    <a:ext uri="{9D8B030D-6E8A-4147-A177-3AD203B41FA5}">
                      <a16:colId xmlns:a16="http://schemas.microsoft.com/office/drawing/2014/main" val="2740792325"/>
                    </a:ext>
                  </a:extLst>
                </a:gridCol>
                <a:gridCol w="295492">
                  <a:extLst>
                    <a:ext uri="{9D8B030D-6E8A-4147-A177-3AD203B41FA5}">
                      <a16:colId xmlns:a16="http://schemas.microsoft.com/office/drawing/2014/main" val="54782936"/>
                    </a:ext>
                  </a:extLst>
                </a:gridCol>
                <a:gridCol w="295492">
                  <a:extLst>
                    <a:ext uri="{9D8B030D-6E8A-4147-A177-3AD203B41FA5}">
                      <a16:colId xmlns:a16="http://schemas.microsoft.com/office/drawing/2014/main" val="154020430"/>
                    </a:ext>
                  </a:extLst>
                </a:gridCol>
                <a:gridCol w="295492">
                  <a:extLst>
                    <a:ext uri="{9D8B030D-6E8A-4147-A177-3AD203B41FA5}">
                      <a16:colId xmlns:a16="http://schemas.microsoft.com/office/drawing/2014/main" val="3928813835"/>
                    </a:ext>
                  </a:extLst>
                </a:gridCol>
                <a:gridCol w="295492">
                  <a:extLst>
                    <a:ext uri="{9D8B030D-6E8A-4147-A177-3AD203B41FA5}">
                      <a16:colId xmlns:a16="http://schemas.microsoft.com/office/drawing/2014/main" val="4210253042"/>
                    </a:ext>
                  </a:extLst>
                </a:gridCol>
                <a:gridCol w="295492">
                  <a:extLst>
                    <a:ext uri="{9D8B030D-6E8A-4147-A177-3AD203B41FA5}">
                      <a16:colId xmlns:a16="http://schemas.microsoft.com/office/drawing/2014/main" val="895787419"/>
                    </a:ext>
                  </a:extLst>
                </a:gridCol>
                <a:gridCol w="295492">
                  <a:extLst>
                    <a:ext uri="{9D8B030D-6E8A-4147-A177-3AD203B41FA5}">
                      <a16:colId xmlns:a16="http://schemas.microsoft.com/office/drawing/2014/main" val="3828388578"/>
                    </a:ext>
                  </a:extLst>
                </a:gridCol>
                <a:gridCol w="295492">
                  <a:extLst>
                    <a:ext uri="{9D8B030D-6E8A-4147-A177-3AD203B41FA5}">
                      <a16:colId xmlns:a16="http://schemas.microsoft.com/office/drawing/2014/main" val="742550205"/>
                    </a:ext>
                  </a:extLst>
                </a:gridCol>
                <a:gridCol w="295492">
                  <a:extLst>
                    <a:ext uri="{9D8B030D-6E8A-4147-A177-3AD203B41FA5}">
                      <a16:colId xmlns:a16="http://schemas.microsoft.com/office/drawing/2014/main" val="1408879461"/>
                    </a:ext>
                  </a:extLst>
                </a:gridCol>
              </a:tblGrid>
              <a:tr h="251292">
                <a:tc>
                  <a:txBody>
                    <a:bodyPr/>
                    <a:lstStyle/>
                    <a:p>
                      <a:r>
                        <a:rPr lang="en-US" sz="800" b="1" i="0" dirty="0">
                          <a:solidFill>
                            <a:schemeClr val="bg1"/>
                          </a:solidFill>
                          <a:latin typeface="+mj-lt"/>
                        </a:rPr>
                        <a:t>Sales </a:t>
                      </a:r>
                      <a:r>
                        <a:rPr lang="en-US" sz="800" b="1" i="0">
                          <a:solidFill>
                            <a:schemeClr val="bg1"/>
                          </a:solidFill>
                          <a:latin typeface="+mj-lt"/>
                        </a:rPr>
                        <a:t>Vs. 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rPr dirty="0"/>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rPr dirty="0"/>
                        <a:t>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helf </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Price</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Unit</a:t>
            </a:r>
          </a:p>
          <a:p>
            <a:pPr marL="0" marR="0" lvl="0" indent="0" defTabSz="685749"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Nexa Bold" panose="00000800000000000000" pitchFamily="2" charset="0"/>
              </a:rPr>
              <a:t>(</a:t>
            </a:r>
            <a:r>
              <a:rPr lang="en-US" sz="800" dirty="0">
                <a:solidFill>
                  <a:schemeClr val="tx1"/>
                </a:solidFill>
                <a:highlight>
                  <a:srgbClr val="FFFF00"/>
                </a:highlight>
                <a:latin typeface="Nexa Bold" panose="00000800000000000000" pitchFamily="2" charset="0"/>
              </a:rPr>
              <a:t>€</a:t>
            </a:r>
            <a:r>
              <a:rPr lang="en-US" sz="800" dirty="0">
                <a:solidFill>
                  <a:schemeClr val="tx1"/>
                </a:solidFill>
                <a:latin typeface="Nexa Bold" panose="00000800000000000000" pitchFamily="2" charset="0"/>
              </a:rPr>
              <a:t>)</a:t>
            </a:r>
            <a:endPar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endParaRP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Value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ales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M)</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8/11/2025</a:t>
            </a:fld>
            <a:endParaRPr lang="en-US" sz="500"/>
          </a:p>
        </p:txBody>
      </p:sp>
    </p:spTree>
    <p:extLst>
      <p:ext uri="{BB962C8B-B14F-4D97-AF65-F5344CB8AC3E}">
        <p14:creationId xmlns:p14="http://schemas.microsoft.com/office/powerpoint/2010/main" val="2862917652"/>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6</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r>
              <a:rPr lang="en-US" dirty="0"/>
              <a:t>Inter-size Discount  | </a:t>
            </a:r>
            <a:r>
              <a:rPr lang="en-US" dirty="0">
                <a:highlight>
                  <a:srgbClr val="FFFF00"/>
                </a:highlight>
              </a:rPr>
              <a:t>Variant</a:t>
            </a:r>
            <a:r>
              <a:rPr lang="en-US" dirty="0"/>
              <a:t> | </a:t>
            </a:r>
            <a:r>
              <a:rPr lang="en-US" dirty="0">
                <a:highlight>
                  <a:srgbClr val="FFFF00"/>
                </a:highlight>
              </a:rPr>
              <a:t>National</a:t>
            </a:r>
            <a:r>
              <a:rPr lang="en-US" dirty="0"/>
              <a:t> | P12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2800073758"/>
              </p:ext>
            </p:extLst>
          </p:nvPr>
        </p:nvGraphicFramePr>
        <p:xfrm>
          <a:off x="555229" y="4265104"/>
          <a:ext cx="7441138"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95492">
                  <a:extLst>
                    <a:ext uri="{9D8B030D-6E8A-4147-A177-3AD203B41FA5}">
                      <a16:colId xmlns:a16="http://schemas.microsoft.com/office/drawing/2014/main" val="2253286919"/>
                    </a:ext>
                  </a:extLst>
                </a:gridCol>
                <a:gridCol w="295492">
                  <a:extLst>
                    <a:ext uri="{9D8B030D-6E8A-4147-A177-3AD203B41FA5}">
                      <a16:colId xmlns:a16="http://schemas.microsoft.com/office/drawing/2014/main" val="2739285047"/>
                    </a:ext>
                  </a:extLst>
                </a:gridCol>
                <a:gridCol w="295492">
                  <a:extLst>
                    <a:ext uri="{9D8B030D-6E8A-4147-A177-3AD203B41FA5}">
                      <a16:colId xmlns:a16="http://schemas.microsoft.com/office/drawing/2014/main" val="686050863"/>
                    </a:ext>
                  </a:extLst>
                </a:gridCol>
                <a:gridCol w="295492">
                  <a:extLst>
                    <a:ext uri="{9D8B030D-6E8A-4147-A177-3AD203B41FA5}">
                      <a16:colId xmlns:a16="http://schemas.microsoft.com/office/drawing/2014/main" val="3765127706"/>
                    </a:ext>
                  </a:extLst>
                </a:gridCol>
                <a:gridCol w="295492">
                  <a:extLst>
                    <a:ext uri="{9D8B030D-6E8A-4147-A177-3AD203B41FA5}">
                      <a16:colId xmlns:a16="http://schemas.microsoft.com/office/drawing/2014/main" val="273303937"/>
                    </a:ext>
                  </a:extLst>
                </a:gridCol>
                <a:gridCol w="295492">
                  <a:extLst>
                    <a:ext uri="{9D8B030D-6E8A-4147-A177-3AD203B41FA5}">
                      <a16:colId xmlns:a16="http://schemas.microsoft.com/office/drawing/2014/main" val="1190134658"/>
                    </a:ext>
                  </a:extLst>
                </a:gridCol>
                <a:gridCol w="295492">
                  <a:extLst>
                    <a:ext uri="{9D8B030D-6E8A-4147-A177-3AD203B41FA5}">
                      <a16:colId xmlns:a16="http://schemas.microsoft.com/office/drawing/2014/main" val="1152288185"/>
                    </a:ext>
                  </a:extLst>
                </a:gridCol>
                <a:gridCol w="295492">
                  <a:extLst>
                    <a:ext uri="{9D8B030D-6E8A-4147-A177-3AD203B41FA5}">
                      <a16:colId xmlns:a16="http://schemas.microsoft.com/office/drawing/2014/main" val="1888319813"/>
                    </a:ext>
                  </a:extLst>
                </a:gridCol>
                <a:gridCol w="295492">
                  <a:extLst>
                    <a:ext uri="{9D8B030D-6E8A-4147-A177-3AD203B41FA5}">
                      <a16:colId xmlns:a16="http://schemas.microsoft.com/office/drawing/2014/main" val="3471064540"/>
                    </a:ext>
                  </a:extLst>
                </a:gridCol>
                <a:gridCol w="295492">
                  <a:extLst>
                    <a:ext uri="{9D8B030D-6E8A-4147-A177-3AD203B41FA5}">
                      <a16:colId xmlns:a16="http://schemas.microsoft.com/office/drawing/2014/main" val="670551899"/>
                    </a:ext>
                  </a:extLst>
                </a:gridCol>
                <a:gridCol w="295492">
                  <a:extLst>
                    <a:ext uri="{9D8B030D-6E8A-4147-A177-3AD203B41FA5}">
                      <a16:colId xmlns:a16="http://schemas.microsoft.com/office/drawing/2014/main" val="1100152168"/>
                    </a:ext>
                  </a:extLst>
                </a:gridCol>
                <a:gridCol w="295492">
                  <a:extLst>
                    <a:ext uri="{9D8B030D-6E8A-4147-A177-3AD203B41FA5}">
                      <a16:colId xmlns:a16="http://schemas.microsoft.com/office/drawing/2014/main" val="2165801595"/>
                    </a:ext>
                  </a:extLst>
                </a:gridCol>
                <a:gridCol w="295492">
                  <a:extLst>
                    <a:ext uri="{9D8B030D-6E8A-4147-A177-3AD203B41FA5}">
                      <a16:colId xmlns:a16="http://schemas.microsoft.com/office/drawing/2014/main" val="3981167565"/>
                    </a:ext>
                  </a:extLst>
                </a:gridCol>
                <a:gridCol w="295492">
                  <a:extLst>
                    <a:ext uri="{9D8B030D-6E8A-4147-A177-3AD203B41FA5}">
                      <a16:colId xmlns:a16="http://schemas.microsoft.com/office/drawing/2014/main" val="2740792325"/>
                    </a:ext>
                  </a:extLst>
                </a:gridCol>
                <a:gridCol w="295492">
                  <a:extLst>
                    <a:ext uri="{9D8B030D-6E8A-4147-A177-3AD203B41FA5}">
                      <a16:colId xmlns:a16="http://schemas.microsoft.com/office/drawing/2014/main" val="54782936"/>
                    </a:ext>
                  </a:extLst>
                </a:gridCol>
                <a:gridCol w="295492">
                  <a:extLst>
                    <a:ext uri="{9D8B030D-6E8A-4147-A177-3AD203B41FA5}">
                      <a16:colId xmlns:a16="http://schemas.microsoft.com/office/drawing/2014/main" val="154020430"/>
                    </a:ext>
                  </a:extLst>
                </a:gridCol>
                <a:gridCol w="295492">
                  <a:extLst>
                    <a:ext uri="{9D8B030D-6E8A-4147-A177-3AD203B41FA5}">
                      <a16:colId xmlns:a16="http://schemas.microsoft.com/office/drawing/2014/main" val="3928813835"/>
                    </a:ext>
                  </a:extLst>
                </a:gridCol>
                <a:gridCol w="295492">
                  <a:extLst>
                    <a:ext uri="{9D8B030D-6E8A-4147-A177-3AD203B41FA5}">
                      <a16:colId xmlns:a16="http://schemas.microsoft.com/office/drawing/2014/main" val="4210253042"/>
                    </a:ext>
                  </a:extLst>
                </a:gridCol>
                <a:gridCol w="295492">
                  <a:extLst>
                    <a:ext uri="{9D8B030D-6E8A-4147-A177-3AD203B41FA5}">
                      <a16:colId xmlns:a16="http://schemas.microsoft.com/office/drawing/2014/main" val="895787419"/>
                    </a:ext>
                  </a:extLst>
                </a:gridCol>
                <a:gridCol w="295492">
                  <a:extLst>
                    <a:ext uri="{9D8B030D-6E8A-4147-A177-3AD203B41FA5}">
                      <a16:colId xmlns:a16="http://schemas.microsoft.com/office/drawing/2014/main" val="3828388578"/>
                    </a:ext>
                  </a:extLst>
                </a:gridCol>
                <a:gridCol w="295492">
                  <a:extLst>
                    <a:ext uri="{9D8B030D-6E8A-4147-A177-3AD203B41FA5}">
                      <a16:colId xmlns:a16="http://schemas.microsoft.com/office/drawing/2014/main" val="742550205"/>
                    </a:ext>
                  </a:extLst>
                </a:gridCol>
                <a:gridCol w="295492">
                  <a:extLst>
                    <a:ext uri="{9D8B030D-6E8A-4147-A177-3AD203B41FA5}">
                      <a16:colId xmlns:a16="http://schemas.microsoft.com/office/drawing/2014/main" val="1408879461"/>
                    </a:ext>
                  </a:extLst>
                </a:gridCol>
              </a:tblGrid>
              <a:tr h="251292">
                <a:tc>
                  <a:txBody>
                    <a:bodyPr/>
                    <a:lstStyle/>
                    <a:p>
                      <a:r>
                        <a:rPr lang="en-US" sz="800" b="1" i="0" dirty="0">
                          <a:solidFill>
                            <a:schemeClr val="bg1"/>
                          </a:solidFill>
                          <a:latin typeface="+mj-lt"/>
                        </a:rPr>
                        <a:t>Sales </a:t>
                      </a:r>
                      <a:r>
                        <a:rPr lang="en-US" sz="800" b="1" i="0">
                          <a:solidFill>
                            <a:schemeClr val="bg1"/>
                          </a:solidFill>
                          <a:latin typeface="+mj-lt"/>
                        </a:rPr>
                        <a:t>Vs. 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rPr dirty="0"/>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rPr dirty="0"/>
                        <a:t>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helf </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Price</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Unit</a:t>
            </a:r>
          </a:p>
          <a:p>
            <a:pPr marL="0" marR="0" lvl="0" indent="0" defTabSz="685749"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Nexa Bold" panose="00000800000000000000" pitchFamily="2" charset="0"/>
              </a:rPr>
              <a:t>(</a:t>
            </a:r>
            <a:r>
              <a:rPr lang="en-US" sz="800" dirty="0">
                <a:solidFill>
                  <a:schemeClr val="tx1"/>
                </a:solidFill>
                <a:highlight>
                  <a:srgbClr val="FFFF00"/>
                </a:highlight>
                <a:latin typeface="Nexa Bold" panose="00000800000000000000" pitchFamily="2" charset="0"/>
              </a:rPr>
              <a:t>€</a:t>
            </a:r>
            <a:r>
              <a:rPr lang="en-US" sz="800" dirty="0">
                <a:solidFill>
                  <a:schemeClr val="tx1"/>
                </a:solidFill>
                <a:latin typeface="Nexa Bold" panose="00000800000000000000" pitchFamily="2" charset="0"/>
              </a:rPr>
              <a:t>)</a:t>
            </a:r>
            <a:endPar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endParaRP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Value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ales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M)</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8/11/2025</a:t>
            </a:fld>
            <a:endParaRPr lang="en-US" sz="500"/>
          </a:p>
        </p:txBody>
      </p:sp>
    </p:spTree>
    <p:extLst>
      <p:ext uri="{BB962C8B-B14F-4D97-AF65-F5344CB8AC3E}">
        <p14:creationId xmlns:p14="http://schemas.microsoft.com/office/powerpoint/2010/main" val="2200492230"/>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7</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r>
              <a:rPr lang="en-US" dirty="0"/>
              <a:t>Inter-size Discount  | </a:t>
            </a:r>
            <a:r>
              <a:rPr lang="en-US" dirty="0">
                <a:highlight>
                  <a:srgbClr val="FFFF00"/>
                </a:highlight>
              </a:rPr>
              <a:t>Variant</a:t>
            </a:r>
            <a:r>
              <a:rPr lang="en-US" dirty="0"/>
              <a:t> | </a:t>
            </a:r>
            <a:r>
              <a:rPr lang="en-US" dirty="0">
                <a:highlight>
                  <a:srgbClr val="FFFF00"/>
                </a:highlight>
              </a:rPr>
              <a:t>National</a:t>
            </a:r>
            <a:r>
              <a:rPr lang="en-US" dirty="0"/>
              <a:t> | P12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2800073758"/>
              </p:ext>
            </p:extLst>
          </p:nvPr>
        </p:nvGraphicFramePr>
        <p:xfrm>
          <a:off x="555229" y="4265104"/>
          <a:ext cx="7441138"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95492">
                  <a:extLst>
                    <a:ext uri="{9D8B030D-6E8A-4147-A177-3AD203B41FA5}">
                      <a16:colId xmlns:a16="http://schemas.microsoft.com/office/drawing/2014/main" val="2253286919"/>
                    </a:ext>
                  </a:extLst>
                </a:gridCol>
                <a:gridCol w="295492">
                  <a:extLst>
                    <a:ext uri="{9D8B030D-6E8A-4147-A177-3AD203B41FA5}">
                      <a16:colId xmlns:a16="http://schemas.microsoft.com/office/drawing/2014/main" val="2739285047"/>
                    </a:ext>
                  </a:extLst>
                </a:gridCol>
                <a:gridCol w="295492">
                  <a:extLst>
                    <a:ext uri="{9D8B030D-6E8A-4147-A177-3AD203B41FA5}">
                      <a16:colId xmlns:a16="http://schemas.microsoft.com/office/drawing/2014/main" val="686050863"/>
                    </a:ext>
                  </a:extLst>
                </a:gridCol>
                <a:gridCol w="295492">
                  <a:extLst>
                    <a:ext uri="{9D8B030D-6E8A-4147-A177-3AD203B41FA5}">
                      <a16:colId xmlns:a16="http://schemas.microsoft.com/office/drawing/2014/main" val="3765127706"/>
                    </a:ext>
                  </a:extLst>
                </a:gridCol>
                <a:gridCol w="295492">
                  <a:extLst>
                    <a:ext uri="{9D8B030D-6E8A-4147-A177-3AD203B41FA5}">
                      <a16:colId xmlns:a16="http://schemas.microsoft.com/office/drawing/2014/main" val="273303937"/>
                    </a:ext>
                  </a:extLst>
                </a:gridCol>
                <a:gridCol w="295492">
                  <a:extLst>
                    <a:ext uri="{9D8B030D-6E8A-4147-A177-3AD203B41FA5}">
                      <a16:colId xmlns:a16="http://schemas.microsoft.com/office/drawing/2014/main" val="1190134658"/>
                    </a:ext>
                  </a:extLst>
                </a:gridCol>
                <a:gridCol w="295492">
                  <a:extLst>
                    <a:ext uri="{9D8B030D-6E8A-4147-A177-3AD203B41FA5}">
                      <a16:colId xmlns:a16="http://schemas.microsoft.com/office/drawing/2014/main" val="1152288185"/>
                    </a:ext>
                  </a:extLst>
                </a:gridCol>
                <a:gridCol w="295492">
                  <a:extLst>
                    <a:ext uri="{9D8B030D-6E8A-4147-A177-3AD203B41FA5}">
                      <a16:colId xmlns:a16="http://schemas.microsoft.com/office/drawing/2014/main" val="1888319813"/>
                    </a:ext>
                  </a:extLst>
                </a:gridCol>
                <a:gridCol w="295492">
                  <a:extLst>
                    <a:ext uri="{9D8B030D-6E8A-4147-A177-3AD203B41FA5}">
                      <a16:colId xmlns:a16="http://schemas.microsoft.com/office/drawing/2014/main" val="3471064540"/>
                    </a:ext>
                  </a:extLst>
                </a:gridCol>
                <a:gridCol w="295492">
                  <a:extLst>
                    <a:ext uri="{9D8B030D-6E8A-4147-A177-3AD203B41FA5}">
                      <a16:colId xmlns:a16="http://schemas.microsoft.com/office/drawing/2014/main" val="670551899"/>
                    </a:ext>
                  </a:extLst>
                </a:gridCol>
                <a:gridCol w="295492">
                  <a:extLst>
                    <a:ext uri="{9D8B030D-6E8A-4147-A177-3AD203B41FA5}">
                      <a16:colId xmlns:a16="http://schemas.microsoft.com/office/drawing/2014/main" val="1100152168"/>
                    </a:ext>
                  </a:extLst>
                </a:gridCol>
                <a:gridCol w="295492">
                  <a:extLst>
                    <a:ext uri="{9D8B030D-6E8A-4147-A177-3AD203B41FA5}">
                      <a16:colId xmlns:a16="http://schemas.microsoft.com/office/drawing/2014/main" val="2165801595"/>
                    </a:ext>
                  </a:extLst>
                </a:gridCol>
                <a:gridCol w="295492">
                  <a:extLst>
                    <a:ext uri="{9D8B030D-6E8A-4147-A177-3AD203B41FA5}">
                      <a16:colId xmlns:a16="http://schemas.microsoft.com/office/drawing/2014/main" val="3981167565"/>
                    </a:ext>
                  </a:extLst>
                </a:gridCol>
                <a:gridCol w="295492">
                  <a:extLst>
                    <a:ext uri="{9D8B030D-6E8A-4147-A177-3AD203B41FA5}">
                      <a16:colId xmlns:a16="http://schemas.microsoft.com/office/drawing/2014/main" val="2740792325"/>
                    </a:ext>
                  </a:extLst>
                </a:gridCol>
                <a:gridCol w="295492">
                  <a:extLst>
                    <a:ext uri="{9D8B030D-6E8A-4147-A177-3AD203B41FA5}">
                      <a16:colId xmlns:a16="http://schemas.microsoft.com/office/drawing/2014/main" val="54782936"/>
                    </a:ext>
                  </a:extLst>
                </a:gridCol>
                <a:gridCol w="295492">
                  <a:extLst>
                    <a:ext uri="{9D8B030D-6E8A-4147-A177-3AD203B41FA5}">
                      <a16:colId xmlns:a16="http://schemas.microsoft.com/office/drawing/2014/main" val="154020430"/>
                    </a:ext>
                  </a:extLst>
                </a:gridCol>
                <a:gridCol w="295492">
                  <a:extLst>
                    <a:ext uri="{9D8B030D-6E8A-4147-A177-3AD203B41FA5}">
                      <a16:colId xmlns:a16="http://schemas.microsoft.com/office/drawing/2014/main" val="3928813835"/>
                    </a:ext>
                  </a:extLst>
                </a:gridCol>
                <a:gridCol w="295492">
                  <a:extLst>
                    <a:ext uri="{9D8B030D-6E8A-4147-A177-3AD203B41FA5}">
                      <a16:colId xmlns:a16="http://schemas.microsoft.com/office/drawing/2014/main" val="4210253042"/>
                    </a:ext>
                  </a:extLst>
                </a:gridCol>
                <a:gridCol w="295492">
                  <a:extLst>
                    <a:ext uri="{9D8B030D-6E8A-4147-A177-3AD203B41FA5}">
                      <a16:colId xmlns:a16="http://schemas.microsoft.com/office/drawing/2014/main" val="895787419"/>
                    </a:ext>
                  </a:extLst>
                </a:gridCol>
                <a:gridCol w="295492">
                  <a:extLst>
                    <a:ext uri="{9D8B030D-6E8A-4147-A177-3AD203B41FA5}">
                      <a16:colId xmlns:a16="http://schemas.microsoft.com/office/drawing/2014/main" val="3828388578"/>
                    </a:ext>
                  </a:extLst>
                </a:gridCol>
                <a:gridCol w="295492">
                  <a:extLst>
                    <a:ext uri="{9D8B030D-6E8A-4147-A177-3AD203B41FA5}">
                      <a16:colId xmlns:a16="http://schemas.microsoft.com/office/drawing/2014/main" val="742550205"/>
                    </a:ext>
                  </a:extLst>
                </a:gridCol>
                <a:gridCol w="295492">
                  <a:extLst>
                    <a:ext uri="{9D8B030D-6E8A-4147-A177-3AD203B41FA5}">
                      <a16:colId xmlns:a16="http://schemas.microsoft.com/office/drawing/2014/main" val="1408879461"/>
                    </a:ext>
                  </a:extLst>
                </a:gridCol>
              </a:tblGrid>
              <a:tr h="251292">
                <a:tc>
                  <a:txBody>
                    <a:bodyPr/>
                    <a:lstStyle/>
                    <a:p>
                      <a:r>
                        <a:rPr lang="en-US" sz="800" b="1" i="0" dirty="0">
                          <a:solidFill>
                            <a:schemeClr val="bg1"/>
                          </a:solidFill>
                          <a:latin typeface="+mj-lt"/>
                        </a:rPr>
                        <a:t>Sales </a:t>
                      </a:r>
                      <a:r>
                        <a:rPr lang="en-US" sz="800" b="1" i="0">
                          <a:solidFill>
                            <a:schemeClr val="bg1"/>
                          </a:solidFill>
                          <a:latin typeface="+mj-lt"/>
                        </a:rPr>
                        <a:t>Vs. 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rPr dirty="0"/>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rPr dirty="0"/>
                        <a:t>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helf </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Price</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Unit</a:t>
            </a:r>
          </a:p>
          <a:p>
            <a:pPr marL="0" marR="0" lvl="0" indent="0" defTabSz="685749"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Nexa Bold" panose="00000800000000000000" pitchFamily="2" charset="0"/>
              </a:rPr>
              <a:t>(</a:t>
            </a:r>
            <a:r>
              <a:rPr lang="en-US" sz="800" dirty="0">
                <a:solidFill>
                  <a:schemeClr val="tx1"/>
                </a:solidFill>
                <a:highlight>
                  <a:srgbClr val="FFFF00"/>
                </a:highlight>
                <a:latin typeface="Nexa Bold" panose="00000800000000000000" pitchFamily="2" charset="0"/>
              </a:rPr>
              <a:t>€</a:t>
            </a:r>
            <a:r>
              <a:rPr lang="en-US" sz="800" dirty="0">
                <a:solidFill>
                  <a:schemeClr val="tx1"/>
                </a:solidFill>
                <a:latin typeface="Nexa Bold" panose="00000800000000000000" pitchFamily="2" charset="0"/>
              </a:rPr>
              <a:t>)</a:t>
            </a:r>
            <a:endPar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endParaRP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Value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ales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M)</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8/11/2025</a:t>
            </a:fld>
            <a:endParaRPr lang="en-US" sz="500"/>
          </a:p>
        </p:txBody>
      </p:sp>
    </p:spTree>
    <p:extLst>
      <p:ext uri="{BB962C8B-B14F-4D97-AF65-F5344CB8AC3E}">
        <p14:creationId xmlns:p14="http://schemas.microsoft.com/office/powerpoint/2010/main" val="2531393507"/>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8</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r>
              <a:rPr lang="en-US" dirty="0"/>
              <a:t>Inter-size Discount  | </a:t>
            </a:r>
            <a:r>
              <a:rPr lang="en-US" dirty="0">
                <a:highlight>
                  <a:srgbClr val="FFFF00"/>
                </a:highlight>
              </a:rPr>
              <a:t>Variant</a:t>
            </a:r>
            <a:r>
              <a:rPr lang="en-US" dirty="0"/>
              <a:t> | </a:t>
            </a:r>
            <a:r>
              <a:rPr lang="en-US" dirty="0">
                <a:highlight>
                  <a:srgbClr val="FFFF00"/>
                </a:highlight>
              </a:rPr>
              <a:t>National</a:t>
            </a:r>
            <a:r>
              <a:rPr lang="en-US" dirty="0"/>
              <a:t> | P12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2800073758"/>
              </p:ext>
            </p:extLst>
          </p:nvPr>
        </p:nvGraphicFramePr>
        <p:xfrm>
          <a:off x="555229" y="4265104"/>
          <a:ext cx="7441138"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95492">
                  <a:extLst>
                    <a:ext uri="{9D8B030D-6E8A-4147-A177-3AD203B41FA5}">
                      <a16:colId xmlns:a16="http://schemas.microsoft.com/office/drawing/2014/main" val="2253286919"/>
                    </a:ext>
                  </a:extLst>
                </a:gridCol>
                <a:gridCol w="295492">
                  <a:extLst>
                    <a:ext uri="{9D8B030D-6E8A-4147-A177-3AD203B41FA5}">
                      <a16:colId xmlns:a16="http://schemas.microsoft.com/office/drawing/2014/main" val="2739285047"/>
                    </a:ext>
                  </a:extLst>
                </a:gridCol>
                <a:gridCol w="295492">
                  <a:extLst>
                    <a:ext uri="{9D8B030D-6E8A-4147-A177-3AD203B41FA5}">
                      <a16:colId xmlns:a16="http://schemas.microsoft.com/office/drawing/2014/main" val="686050863"/>
                    </a:ext>
                  </a:extLst>
                </a:gridCol>
                <a:gridCol w="295492">
                  <a:extLst>
                    <a:ext uri="{9D8B030D-6E8A-4147-A177-3AD203B41FA5}">
                      <a16:colId xmlns:a16="http://schemas.microsoft.com/office/drawing/2014/main" val="3765127706"/>
                    </a:ext>
                  </a:extLst>
                </a:gridCol>
                <a:gridCol w="295492">
                  <a:extLst>
                    <a:ext uri="{9D8B030D-6E8A-4147-A177-3AD203B41FA5}">
                      <a16:colId xmlns:a16="http://schemas.microsoft.com/office/drawing/2014/main" val="273303937"/>
                    </a:ext>
                  </a:extLst>
                </a:gridCol>
                <a:gridCol w="295492">
                  <a:extLst>
                    <a:ext uri="{9D8B030D-6E8A-4147-A177-3AD203B41FA5}">
                      <a16:colId xmlns:a16="http://schemas.microsoft.com/office/drawing/2014/main" val="1190134658"/>
                    </a:ext>
                  </a:extLst>
                </a:gridCol>
                <a:gridCol w="295492">
                  <a:extLst>
                    <a:ext uri="{9D8B030D-6E8A-4147-A177-3AD203B41FA5}">
                      <a16:colId xmlns:a16="http://schemas.microsoft.com/office/drawing/2014/main" val="1152288185"/>
                    </a:ext>
                  </a:extLst>
                </a:gridCol>
                <a:gridCol w="295492">
                  <a:extLst>
                    <a:ext uri="{9D8B030D-6E8A-4147-A177-3AD203B41FA5}">
                      <a16:colId xmlns:a16="http://schemas.microsoft.com/office/drawing/2014/main" val="1888319813"/>
                    </a:ext>
                  </a:extLst>
                </a:gridCol>
                <a:gridCol w="295492">
                  <a:extLst>
                    <a:ext uri="{9D8B030D-6E8A-4147-A177-3AD203B41FA5}">
                      <a16:colId xmlns:a16="http://schemas.microsoft.com/office/drawing/2014/main" val="3471064540"/>
                    </a:ext>
                  </a:extLst>
                </a:gridCol>
                <a:gridCol w="295492">
                  <a:extLst>
                    <a:ext uri="{9D8B030D-6E8A-4147-A177-3AD203B41FA5}">
                      <a16:colId xmlns:a16="http://schemas.microsoft.com/office/drawing/2014/main" val="670551899"/>
                    </a:ext>
                  </a:extLst>
                </a:gridCol>
                <a:gridCol w="295492">
                  <a:extLst>
                    <a:ext uri="{9D8B030D-6E8A-4147-A177-3AD203B41FA5}">
                      <a16:colId xmlns:a16="http://schemas.microsoft.com/office/drawing/2014/main" val="1100152168"/>
                    </a:ext>
                  </a:extLst>
                </a:gridCol>
                <a:gridCol w="295492">
                  <a:extLst>
                    <a:ext uri="{9D8B030D-6E8A-4147-A177-3AD203B41FA5}">
                      <a16:colId xmlns:a16="http://schemas.microsoft.com/office/drawing/2014/main" val="2165801595"/>
                    </a:ext>
                  </a:extLst>
                </a:gridCol>
                <a:gridCol w="295492">
                  <a:extLst>
                    <a:ext uri="{9D8B030D-6E8A-4147-A177-3AD203B41FA5}">
                      <a16:colId xmlns:a16="http://schemas.microsoft.com/office/drawing/2014/main" val="3981167565"/>
                    </a:ext>
                  </a:extLst>
                </a:gridCol>
                <a:gridCol w="295492">
                  <a:extLst>
                    <a:ext uri="{9D8B030D-6E8A-4147-A177-3AD203B41FA5}">
                      <a16:colId xmlns:a16="http://schemas.microsoft.com/office/drawing/2014/main" val="2740792325"/>
                    </a:ext>
                  </a:extLst>
                </a:gridCol>
                <a:gridCol w="295492">
                  <a:extLst>
                    <a:ext uri="{9D8B030D-6E8A-4147-A177-3AD203B41FA5}">
                      <a16:colId xmlns:a16="http://schemas.microsoft.com/office/drawing/2014/main" val="54782936"/>
                    </a:ext>
                  </a:extLst>
                </a:gridCol>
                <a:gridCol w="295492">
                  <a:extLst>
                    <a:ext uri="{9D8B030D-6E8A-4147-A177-3AD203B41FA5}">
                      <a16:colId xmlns:a16="http://schemas.microsoft.com/office/drawing/2014/main" val="154020430"/>
                    </a:ext>
                  </a:extLst>
                </a:gridCol>
                <a:gridCol w="295492">
                  <a:extLst>
                    <a:ext uri="{9D8B030D-6E8A-4147-A177-3AD203B41FA5}">
                      <a16:colId xmlns:a16="http://schemas.microsoft.com/office/drawing/2014/main" val="3928813835"/>
                    </a:ext>
                  </a:extLst>
                </a:gridCol>
                <a:gridCol w="295492">
                  <a:extLst>
                    <a:ext uri="{9D8B030D-6E8A-4147-A177-3AD203B41FA5}">
                      <a16:colId xmlns:a16="http://schemas.microsoft.com/office/drawing/2014/main" val="4210253042"/>
                    </a:ext>
                  </a:extLst>
                </a:gridCol>
                <a:gridCol w="295492">
                  <a:extLst>
                    <a:ext uri="{9D8B030D-6E8A-4147-A177-3AD203B41FA5}">
                      <a16:colId xmlns:a16="http://schemas.microsoft.com/office/drawing/2014/main" val="895787419"/>
                    </a:ext>
                  </a:extLst>
                </a:gridCol>
                <a:gridCol w="295492">
                  <a:extLst>
                    <a:ext uri="{9D8B030D-6E8A-4147-A177-3AD203B41FA5}">
                      <a16:colId xmlns:a16="http://schemas.microsoft.com/office/drawing/2014/main" val="3828388578"/>
                    </a:ext>
                  </a:extLst>
                </a:gridCol>
                <a:gridCol w="295492">
                  <a:extLst>
                    <a:ext uri="{9D8B030D-6E8A-4147-A177-3AD203B41FA5}">
                      <a16:colId xmlns:a16="http://schemas.microsoft.com/office/drawing/2014/main" val="742550205"/>
                    </a:ext>
                  </a:extLst>
                </a:gridCol>
                <a:gridCol w="295492">
                  <a:extLst>
                    <a:ext uri="{9D8B030D-6E8A-4147-A177-3AD203B41FA5}">
                      <a16:colId xmlns:a16="http://schemas.microsoft.com/office/drawing/2014/main" val="1408879461"/>
                    </a:ext>
                  </a:extLst>
                </a:gridCol>
              </a:tblGrid>
              <a:tr h="251292">
                <a:tc>
                  <a:txBody>
                    <a:bodyPr/>
                    <a:lstStyle/>
                    <a:p>
                      <a:r>
                        <a:rPr lang="en-US" sz="800" b="1" i="0" dirty="0">
                          <a:solidFill>
                            <a:schemeClr val="bg1"/>
                          </a:solidFill>
                          <a:latin typeface="+mj-lt"/>
                        </a:rPr>
                        <a:t>Sales </a:t>
                      </a:r>
                      <a:r>
                        <a:rPr lang="en-US" sz="800" b="1" i="0">
                          <a:solidFill>
                            <a:schemeClr val="bg1"/>
                          </a:solidFill>
                          <a:latin typeface="+mj-lt"/>
                        </a:rPr>
                        <a:t>Vs. 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rPr dirty="0"/>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rPr dirty="0"/>
                        <a:t>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helf </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Price</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Unit</a:t>
            </a:r>
          </a:p>
          <a:p>
            <a:pPr marL="0" marR="0" lvl="0" indent="0" defTabSz="685749"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Nexa Bold" panose="00000800000000000000" pitchFamily="2" charset="0"/>
              </a:rPr>
              <a:t>(</a:t>
            </a:r>
            <a:r>
              <a:rPr lang="en-US" sz="800" dirty="0">
                <a:solidFill>
                  <a:schemeClr val="tx1"/>
                </a:solidFill>
                <a:highlight>
                  <a:srgbClr val="FFFF00"/>
                </a:highlight>
                <a:latin typeface="Nexa Bold" panose="00000800000000000000" pitchFamily="2" charset="0"/>
              </a:rPr>
              <a:t>€</a:t>
            </a:r>
            <a:r>
              <a:rPr lang="en-US" sz="800" dirty="0">
                <a:solidFill>
                  <a:schemeClr val="tx1"/>
                </a:solidFill>
                <a:latin typeface="Nexa Bold" panose="00000800000000000000" pitchFamily="2" charset="0"/>
              </a:rPr>
              <a:t>)</a:t>
            </a:r>
            <a:endPar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endParaRP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Value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ales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M)</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8/11/2025</a:t>
            </a:fld>
            <a:endParaRPr lang="en-US" sz="500"/>
          </a:p>
        </p:txBody>
      </p:sp>
    </p:spTree>
    <p:extLst>
      <p:ext uri="{BB962C8B-B14F-4D97-AF65-F5344CB8AC3E}">
        <p14:creationId xmlns:p14="http://schemas.microsoft.com/office/powerpoint/2010/main" val="171216887"/>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9</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r>
              <a:rPr lang="en-US" dirty="0"/>
              <a:t>Inter-size Discount  | </a:t>
            </a:r>
            <a:r>
              <a:rPr lang="en-US" dirty="0">
                <a:highlight>
                  <a:srgbClr val="FFFF00"/>
                </a:highlight>
              </a:rPr>
              <a:t>Variant</a:t>
            </a:r>
            <a:r>
              <a:rPr lang="en-US" dirty="0"/>
              <a:t> | </a:t>
            </a:r>
            <a:r>
              <a:rPr lang="en-US" dirty="0">
                <a:highlight>
                  <a:srgbClr val="FFFF00"/>
                </a:highlight>
              </a:rPr>
              <a:t>National</a:t>
            </a:r>
            <a:r>
              <a:rPr lang="en-US" dirty="0"/>
              <a:t> | P12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2800073758"/>
              </p:ext>
            </p:extLst>
          </p:nvPr>
        </p:nvGraphicFramePr>
        <p:xfrm>
          <a:off x="555229" y="4265104"/>
          <a:ext cx="7441138"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95492">
                  <a:extLst>
                    <a:ext uri="{9D8B030D-6E8A-4147-A177-3AD203B41FA5}">
                      <a16:colId xmlns:a16="http://schemas.microsoft.com/office/drawing/2014/main" val="2253286919"/>
                    </a:ext>
                  </a:extLst>
                </a:gridCol>
                <a:gridCol w="295492">
                  <a:extLst>
                    <a:ext uri="{9D8B030D-6E8A-4147-A177-3AD203B41FA5}">
                      <a16:colId xmlns:a16="http://schemas.microsoft.com/office/drawing/2014/main" val="2739285047"/>
                    </a:ext>
                  </a:extLst>
                </a:gridCol>
                <a:gridCol w="295492">
                  <a:extLst>
                    <a:ext uri="{9D8B030D-6E8A-4147-A177-3AD203B41FA5}">
                      <a16:colId xmlns:a16="http://schemas.microsoft.com/office/drawing/2014/main" val="686050863"/>
                    </a:ext>
                  </a:extLst>
                </a:gridCol>
                <a:gridCol w="295492">
                  <a:extLst>
                    <a:ext uri="{9D8B030D-6E8A-4147-A177-3AD203B41FA5}">
                      <a16:colId xmlns:a16="http://schemas.microsoft.com/office/drawing/2014/main" val="3765127706"/>
                    </a:ext>
                  </a:extLst>
                </a:gridCol>
                <a:gridCol w="295492">
                  <a:extLst>
                    <a:ext uri="{9D8B030D-6E8A-4147-A177-3AD203B41FA5}">
                      <a16:colId xmlns:a16="http://schemas.microsoft.com/office/drawing/2014/main" val="273303937"/>
                    </a:ext>
                  </a:extLst>
                </a:gridCol>
                <a:gridCol w="295492">
                  <a:extLst>
                    <a:ext uri="{9D8B030D-6E8A-4147-A177-3AD203B41FA5}">
                      <a16:colId xmlns:a16="http://schemas.microsoft.com/office/drawing/2014/main" val="1190134658"/>
                    </a:ext>
                  </a:extLst>
                </a:gridCol>
                <a:gridCol w="295492">
                  <a:extLst>
                    <a:ext uri="{9D8B030D-6E8A-4147-A177-3AD203B41FA5}">
                      <a16:colId xmlns:a16="http://schemas.microsoft.com/office/drawing/2014/main" val="1152288185"/>
                    </a:ext>
                  </a:extLst>
                </a:gridCol>
                <a:gridCol w="295492">
                  <a:extLst>
                    <a:ext uri="{9D8B030D-6E8A-4147-A177-3AD203B41FA5}">
                      <a16:colId xmlns:a16="http://schemas.microsoft.com/office/drawing/2014/main" val="1888319813"/>
                    </a:ext>
                  </a:extLst>
                </a:gridCol>
                <a:gridCol w="295492">
                  <a:extLst>
                    <a:ext uri="{9D8B030D-6E8A-4147-A177-3AD203B41FA5}">
                      <a16:colId xmlns:a16="http://schemas.microsoft.com/office/drawing/2014/main" val="3471064540"/>
                    </a:ext>
                  </a:extLst>
                </a:gridCol>
                <a:gridCol w="295492">
                  <a:extLst>
                    <a:ext uri="{9D8B030D-6E8A-4147-A177-3AD203B41FA5}">
                      <a16:colId xmlns:a16="http://schemas.microsoft.com/office/drawing/2014/main" val="670551899"/>
                    </a:ext>
                  </a:extLst>
                </a:gridCol>
                <a:gridCol w="295492">
                  <a:extLst>
                    <a:ext uri="{9D8B030D-6E8A-4147-A177-3AD203B41FA5}">
                      <a16:colId xmlns:a16="http://schemas.microsoft.com/office/drawing/2014/main" val="1100152168"/>
                    </a:ext>
                  </a:extLst>
                </a:gridCol>
                <a:gridCol w="295492">
                  <a:extLst>
                    <a:ext uri="{9D8B030D-6E8A-4147-A177-3AD203B41FA5}">
                      <a16:colId xmlns:a16="http://schemas.microsoft.com/office/drawing/2014/main" val="2165801595"/>
                    </a:ext>
                  </a:extLst>
                </a:gridCol>
                <a:gridCol w="295492">
                  <a:extLst>
                    <a:ext uri="{9D8B030D-6E8A-4147-A177-3AD203B41FA5}">
                      <a16:colId xmlns:a16="http://schemas.microsoft.com/office/drawing/2014/main" val="3981167565"/>
                    </a:ext>
                  </a:extLst>
                </a:gridCol>
                <a:gridCol w="295492">
                  <a:extLst>
                    <a:ext uri="{9D8B030D-6E8A-4147-A177-3AD203B41FA5}">
                      <a16:colId xmlns:a16="http://schemas.microsoft.com/office/drawing/2014/main" val="2740792325"/>
                    </a:ext>
                  </a:extLst>
                </a:gridCol>
                <a:gridCol w="295492">
                  <a:extLst>
                    <a:ext uri="{9D8B030D-6E8A-4147-A177-3AD203B41FA5}">
                      <a16:colId xmlns:a16="http://schemas.microsoft.com/office/drawing/2014/main" val="54782936"/>
                    </a:ext>
                  </a:extLst>
                </a:gridCol>
                <a:gridCol w="295492">
                  <a:extLst>
                    <a:ext uri="{9D8B030D-6E8A-4147-A177-3AD203B41FA5}">
                      <a16:colId xmlns:a16="http://schemas.microsoft.com/office/drawing/2014/main" val="154020430"/>
                    </a:ext>
                  </a:extLst>
                </a:gridCol>
                <a:gridCol w="295492">
                  <a:extLst>
                    <a:ext uri="{9D8B030D-6E8A-4147-A177-3AD203B41FA5}">
                      <a16:colId xmlns:a16="http://schemas.microsoft.com/office/drawing/2014/main" val="3928813835"/>
                    </a:ext>
                  </a:extLst>
                </a:gridCol>
                <a:gridCol w="295492">
                  <a:extLst>
                    <a:ext uri="{9D8B030D-6E8A-4147-A177-3AD203B41FA5}">
                      <a16:colId xmlns:a16="http://schemas.microsoft.com/office/drawing/2014/main" val="4210253042"/>
                    </a:ext>
                  </a:extLst>
                </a:gridCol>
                <a:gridCol w="295492">
                  <a:extLst>
                    <a:ext uri="{9D8B030D-6E8A-4147-A177-3AD203B41FA5}">
                      <a16:colId xmlns:a16="http://schemas.microsoft.com/office/drawing/2014/main" val="895787419"/>
                    </a:ext>
                  </a:extLst>
                </a:gridCol>
                <a:gridCol w="295492">
                  <a:extLst>
                    <a:ext uri="{9D8B030D-6E8A-4147-A177-3AD203B41FA5}">
                      <a16:colId xmlns:a16="http://schemas.microsoft.com/office/drawing/2014/main" val="3828388578"/>
                    </a:ext>
                  </a:extLst>
                </a:gridCol>
                <a:gridCol w="295492">
                  <a:extLst>
                    <a:ext uri="{9D8B030D-6E8A-4147-A177-3AD203B41FA5}">
                      <a16:colId xmlns:a16="http://schemas.microsoft.com/office/drawing/2014/main" val="742550205"/>
                    </a:ext>
                  </a:extLst>
                </a:gridCol>
                <a:gridCol w="295492">
                  <a:extLst>
                    <a:ext uri="{9D8B030D-6E8A-4147-A177-3AD203B41FA5}">
                      <a16:colId xmlns:a16="http://schemas.microsoft.com/office/drawing/2014/main" val="1408879461"/>
                    </a:ext>
                  </a:extLst>
                </a:gridCol>
              </a:tblGrid>
              <a:tr h="251292">
                <a:tc>
                  <a:txBody>
                    <a:bodyPr/>
                    <a:lstStyle/>
                    <a:p>
                      <a:r>
                        <a:rPr lang="en-US" sz="800" b="1" i="0" dirty="0">
                          <a:solidFill>
                            <a:schemeClr val="bg1"/>
                          </a:solidFill>
                          <a:latin typeface="+mj-lt"/>
                        </a:rPr>
                        <a:t>Sales </a:t>
                      </a:r>
                      <a:r>
                        <a:rPr lang="en-US" sz="800" b="1" i="0">
                          <a:solidFill>
                            <a:schemeClr val="bg1"/>
                          </a:solidFill>
                          <a:latin typeface="+mj-lt"/>
                        </a:rPr>
                        <a:t>Vs. 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rPr dirty="0"/>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rPr dirty="0"/>
                        <a:t>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helf </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Price</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Unit</a:t>
            </a:r>
          </a:p>
          <a:p>
            <a:pPr marL="0" marR="0" lvl="0" indent="0" defTabSz="685749"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Nexa Bold" panose="00000800000000000000" pitchFamily="2" charset="0"/>
              </a:rPr>
              <a:t>(</a:t>
            </a:r>
            <a:r>
              <a:rPr lang="en-US" sz="800" dirty="0">
                <a:solidFill>
                  <a:schemeClr val="tx1"/>
                </a:solidFill>
                <a:highlight>
                  <a:srgbClr val="FFFF00"/>
                </a:highlight>
                <a:latin typeface="Nexa Bold" panose="00000800000000000000" pitchFamily="2" charset="0"/>
              </a:rPr>
              <a:t>€</a:t>
            </a:r>
            <a:r>
              <a:rPr lang="en-US" sz="800" dirty="0">
                <a:solidFill>
                  <a:schemeClr val="tx1"/>
                </a:solidFill>
                <a:latin typeface="Nexa Bold" panose="00000800000000000000" pitchFamily="2" charset="0"/>
              </a:rPr>
              <a:t>)</a:t>
            </a:r>
            <a:endPar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endParaRP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Value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ales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M)</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8/11/2025</a:t>
            </a:fld>
            <a:endParaRPr lang="en-US" sz="500"/>
          </a:p>
        </p:txBody>
      </p:sp>
    </p:spTree>
    <p:extLst>
      <p:ext uri="{BB962C8B-B14F-4D97-AF65-F5344CB8AC3E}">
        <p14:creationId xmlns:p14="http://schemas.microsoft.com/office/powerpoint/2010/main" val="86240539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r>
              <a:rPr lang="en-US" dirty="0"/>
              <a:t>Inter-size Discount  | </a:t>
            </a:r>
            <a:r>
              <a:rPr lang="en-US" dirty="0">
                <a:highlight>
                  <a:srgbClr val="FFFF00"/>
                </a:highlight>
              </a:rPr>
              <a:t>Variant</a:t>
            </a:r>
            <a:r>
              <a:rPr lang="en-US" dirty="0"/>
              <a:t> | </a:t>
            </a:r>
            <a:r>
              <a:rPr lang="en-US" dirty="0">
                <a:highlight>
                  <a:srgbClr val="FFFF00"/>
                </a:highlight>
              </a:rPr>
              <a:t>National</a:t>
            </a:r>
            <a:r>
              <a:rPr lang="en-US" dirty="0"/>
              <a:t> | P12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2800073758"/>
              </p:ext>
            </p:extLst>
          </p:nvPr>
        </p:nvGraphicFramePr>
        <p:xfrm>
          <a:off x="555229" y="4265104"/>
          <a:ext cx="7441138"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95492">
                  <a:extLst>
                    <a:ext uri="{9D8B030D-6E8A-4147-A177-3AD203B41FA5}">
                      <a16:colId xmlns:a16="http://schemas.microsoft.com/office/drawing/2014/main" val="2253286919"/>
                    </a:ext>
                  </a:extLst>
                </a:gridCol>
                <a:gridCol w="295492">
                  <a:extLst>
                    <a:ext uri="{9D8B030D-6E8A-4147-A177-3AD203B41FA5}">
                      <a16:colId xmlns:a16="http://schemas.microsoft.com/office/drawing/2014/main" val="2739285047"/>
                    </a:ext>
                  </a:extLst>
                </a:gridCol>
                <a:gridCol w="295492">
                  <a:extLst>
                    <a:ext uri="{9D8B030D-6E8A-4147-A177-3AD203B41FA5}">
                      <a16:colId xmlns:a16="http://schemas.microsoft.com/office/drawing/2014/main" val="686050863"/>
                    </a:ext>
                  </a:extLst>
                </a:gridCol>
                <a:gridCol w="295492">
                  <a:extLst>
                    <a:ext uri="{9D8B030D-6E8A-4147-A177-3AD203B41FA5}">
                      <a16:colId xmlns:a16="http://schemas.microsoft.com/office/drawing/2014/main" val="3765127706"/>
                    </a:ext>
                  </a:extLst>
                </a:gridCol>
                <a:gridCol w="295492">
                  <a:extLst>
                    <a:ext uri="{9D8B030D-6E8A-4147-A177-3AD203B41FA5}">
                      <a16:colId xmlns:a16="http://schemas.microsoft.com/office/drawing/2014/main" val="273303937"/>
                    </a:ext>
                  </a:extLst>
                </a:gridCol>
                <a:gridCol w="295492">
                  <a:extLst>
                    <a:ext uri="{9D8B030D-6E8A-4147-A177-3AD203B41FA5}">
                      <a16:colId xmlns:a16="http://schemas.microsoft.com/office/drawing/2014/main" val="1190134658"/>
                    </a:ext>
                  </a:extLst>
                </a:gridCol>
                <a:gridCol w="295492">
                  <a:extLst>
                    <a:ext uri="{9D8B030D-6E8A-4147-A177-3AD203B41FA5}">
                      <a16:colId xmlns:a16="http://schemas.microsoft.com/office/drawing/2014/main" val="1152288185"/>
                    </a:ext>
                  </a:extLst>
                </a:gridCol>
                <a:gridCol w="295492">
                  <a:extLst>
                    <a:ext uri="{9D8B030D-6E8A-4147-A177-3AD203B41FA5}">
                      <a16:colId xmlns:a16="http://schemas.microsoft.com/office/drawing/2014/main" val="1888319813"/>
                    </a:ext>
                  </a:extLst>
                </a:gridCol>
                <a:gridCol w="295492">
                  <a:extLst>
                    <a:ext uri="{9D8B030D-6E8A-4147-A177-3AD203B41FA5}">
                      <a16:colId xmlns:a16="http://schemas.microsoft.com/office/drawing/2014/main" val="3471064540"/>
                    </a:ext>
                  </a:extLst>
                </a:gridCol>
                <a:gridCol w="295492">
                  <a:extLst>
                    <a:ext uri="{9D8B030D-6E8A-4147-A177-3AD203B41FA5}">
                      <a16:colId xmlns:a16="http://schemas.microsoft.com/office/drawing/2014/main" val="670551899"/>
                    </a:ext>
                  </a:extLst>
                </a:gridCol>
                <a:gridCol w="295492">
                  <a:extLst>
                    <a:ext uri="{9D8B030D-6E8A-4147-A177-3AD203B41FA5}">
                      <a16:colId xmlns:a16="http://schemas.microsoft.com/office/drawing/2014/main" val="1100152168"/>
                    </a:ext>
                  </a:extLst>
                </a:gridCol>
                <a:gridCol w="295492">
                  <a:extLst>
                    <a:ext uri="{9D8B030D-6E8A-4147-A177-3AD203B41FA5}">
                      <a16:colId xmlns:a16="http://schemas.microsoft.com/office/drawing/2014/main" val="2165801595"/>
                    </a:ext>
                  </a:extLst>
                </a:gridCol>
                <a:gridCol w="295492">
                  <a:extLst>
                    <a:ext uri="{9D8B030D-6E8A-4147-A177-3AD203B41FA5}">
                      <a16:colId xmlns:a16="http://schemas.microsoft.com/office/drawing/2014/main" val="3981167565"/>
                    </a:ext>
                  </a:extLst>
                </a:gridCol>
                <a:gridCol w="295492">
                  <a:extLst>
                    <a:ext uri="{9D8B030D-6E8A-4147-A177-3AD203B41FA5}">
                      <a16:colId xmlns:a16="http://schemas.microsoft.com/office/drawing/2014/main" val="2740792325"/>
                    </a:ext>
                  </a:extLst>
                </a:gridCol>
                <a:gridCol w="295492">
                  <a:extLst>
                    <a:ext uri="{9D8B030D-6E8A-4147-A177-3AD203B41FA5}">
                      <a16:colId xmlns:a16="http://schemas.microsoft.com/office/drawing/2014/main" val="54782936"/>
                    </a:ext>
                  </a:extLst>
                </a:gridCol>
                <a:gridCol w="295492">
                  <a:extLst>
                    <a:ext uri="{9D8B030D-6E8A-4147-A177-3AD203B41FA5}">
                      <a16:colId xmlns:a16="http://schemas.microsoft.com/office/drawing/2014/main" val="154020430"/>
                    </a:ext>
                  </a:extLst>
                </a:gridCol>
                <a:gridCol w="295492">
                  <a:extLst>
                    <a:ext uri="{9D8B030D-6E8A-4147-A177-3AD203B41FA5}">
                      <a16:colId xmlns:a16="http://schemas.microsoft.com/office/drawing/2014/main" val="3928813835"/>
                    </a:ext>
                  </a:extLst>
                </a:gridCol>
                <a:gridCol w="295492">
                  <a:extLst>
                    <a:ext uri="{9D8B030D-6E8A-4147-A177-3AD203B41FA5}">
                      <a16:colId xmlns:a16="http://schemas.microsoft.com/office/drawing/2014/main" val="4210253042"/>
                    </a:ext>
                  </a:extLst>
                </a:gridCol>
                <a:gridCol w="295492">
                  <a:extLst>
                    <a:ext uri="{9D8B030D-6E8A-4147-A177-3AD203B41FA5}">
                      <a16:colId xmlns:a16="http://schemas.microsoft.com/office/drawing/2014/main" val="895787419"/>
                    </a:ext>
                  </a:extLst>
                </a:gridCol>
                <a:gridCol w="295492">
                  <a:extLst>
                    <a:ext uri="{9D8B030D-6E8A-4147-A177-3AD203B41FA5}">
                      <a16:colId xmlns:a16="http://schemas.microsoft.com/office/drawing/2014/main" val="3828388578"/>
                    </a:ext>
                  </a:extLst>
                </a:gridCol>
                <a:gridCol w="295492">
                  <a:extLst>
                    <a:ext uri="{9D8B030D-6E8A-4147-A177-3AD203B41FA5}">
                      <a16:colId xmlns:a16="http://schemas.microsoft.com/office/drawing/2014/main" val="742550205"/>
                    </a:ext>
                  </a:extLst>
                </a:gridCol>
                <a:gridCol w="295492">
                  <a:extLst>
                    <a:ext uri="{9D8B030D-6E8A-4147-A177-3AD203B41FA5}">
                      <a16:colId xmlns:a16="http://schemas.microsoft.com/office/drawing/2014/main" val="1408879461"/>
                    </a:ext>
                  </a:extLst>
                </a:gridCol>
              </a:tblGrid>
              <a:tr h="251292">
                <a:tc>
                  <a:txBody>
                    <a:bodyPr/>
                    <a:lstStyle/>
                    <a:p>
                      <a:r>
                        <a:rPr lang="en-US" sz="800" b="1" i="0" dirty="0">
                          <a:solidFill>
                            <a:schemeClr val="bg1"/>
                          </a:solidFill>
                          <a:latin typeface="+mj-lt"/>
                        </a:rPr>
                        <a:t>Sales </a:t>
                      </a:r>
                      <a:r>
                        <a:rPr lang="en-US" sz="800" b="1" i="0">
                          <a:solidFill>
                            <a:schemeClr val="bg1"/>
                          </a:solidFill>
                          <a:latin typeface="+mj-lt"/>
                        </a:rPr>
                        <a:t>Vs. 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rPr dirty="0"/>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rPr dirty="0"/>
                        <a:t>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helf </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Price</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Unit</a:t>
            </a:r>
          </a:p>
          <a:p>
            <a:pPr marL="0" marR="0" lvl="0" indent="0" defTabSz="685749"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Nexa Bold" panose="00000800000000000000" pitchFamily="2" charset="0"/>
              </a:rPr>
              <a:t>(</a:t>
            </a:r>
            <a:r>
              <a:rPr lang="en-US" sz="800" dirty="0">
                <a:solidFill>
                  <a:schemeClr val="tx1"/>
                </a:solidFill>
                <a:highlight>
                  <a:srgbClr val="FFFF00"/>
                </a:highlight>
                <a:latin typeface="Nexa Bold" panose="00000800000000000000" pitchFamily="2" charset="0"/>
              </a:rPr>
              <a:t>€</a:t>
            </a:r>
            <a:r>
              <a:rPr lang="en-US" sz="800" dirty="0">
                <a:solidFill>
                  <a:schemeClr val="tx1"/>
                </a:solidFill>
                <a:latin typeface="Nexa Bold" panose="00000800000000000000" pitchFamily="2" charset="0"/>
              </a:rPr>
              <a:t>)</a:t>
            </a:r>
            <a:endPar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endParaRP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Value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ales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M)</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8/11/2025</a:t>
            </a:fld>
            <a:endParaRPr lang="en-US" sz="500"/>
          </a:p>
        </p:txBody>
      </p:sp>
    </p:spTree>
    <p:extLst>
      <p:ext uri="{BB962C8B-B14F-4D97-AF65-F5344CB8AC3E}">
        <p14:creationId xmlns:p14="http://schemas.microsoft.com/office/powerpoint/2010/main" val="1003776995"/>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0</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r>
              <a:rPr lang="en-US" dirty="0"/>
              <a:t>Inter-size Discount  | </a:t>
            </a:r>
            <a:r>
              <a:rPr lang="en-US" dirty="0">
                <a:highlight>
                  <a:srgbClr val="FFFF00"/>
                </a:highlight>
              </a:rPr>
              <a:t>Variant</a:t>
            </a:r>
            <a:r>
              <a:rPr lang="en-US" dirty="0"/>
              <a:t> | </a:t>
            </a:r>
            <a:r>
              <a:rPr lang="en-US" dirty="0">
                <a:highlight>
                  <a:srgbClr val="FFFF00"/>
                </a:highlight>
              </a:rPr>
              <a:t>National</a:t>
            </a:r>
            <a:r>
              <a:rPr lang="en-US" dirty="0"/>
              <a:t> | P12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2800073758"/>
              </p:ext>
            </p:extLst>
          </p:nvPr>
        </p:nvGraphicFramePr>
        <p:xfrm>
          <a:off x="555229" y="4265104"/>
          <a:ext cx="7441138"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95492">
                  <a:extLst>
                    <a:ext uri="{9D8B030D-6E8A-4147-A177-3AD203B41FA5}">
                      <a16:colId xmlns:a16="http://schemas.microsoft.com/office/drawing/2014/main" val="2253286919"/>
                    </a:ext>
                  </a:extLst>
                </a:gridCol>
                <a:gridCol w="295492">
                  <a:extLst>
                    <a:ext uri="{9D8B030D-6E8A-4147-A177-3AD203B41FA5}">
                      <a16:colId xmlns:a16="http://schemas.microsoft.com/office/drawing/2014/main" val="2739285047"/>
                    </a:ext>
                  </a:extLst>
                </a:gridCol>
                <a:gridCol w="295492">
                  <a:extLst>
                    <a:ext uri="{9D8B030D-6E8A-4147-A177-3AD203B41FA5}">
                      <a16:colId xmlns:a16="http://schemas.microsoft.com/office/drawing/2014/main" val="686050863"/>
                    </a:ext>
                  </a:extLst>
                </a:gridCol>
                <a:gridCol w="295492">
                  <a:extLst>
                    <a:ext uri="{9D8B030D-6E8A-4147-A177-3AD203B41FA5}">
                      <a16:colId xmlns:a16="http://schemas.microsoft.com/office/drawing/2014/main" val="3765127706"/>
                    </a:ext>
                  </a:extLst>
                </a:gridCol>
                <a:gridCol w="295492">
                  <a:extLst>
                    <a:ext uri="{9D8B030D-6E8A-4147-A177-3AD203B41FA5}">
                      <a16:colId xmlns:a16="http://schemas.microsoft.com/office/drawing/2014/main" val="273303937"/>
                    </a:ext>
                  </a:extLst>
                </a:gridCol>
                <a:gridCol w="295492">
                  <a:extLst>
                    <a:ext uri="{9D8B030D-6E8A-4147-A177-3AD203B41FA5}">
                      <a16:colId xmlns:a16="http://schemas.microsoft.com/office/drawing/2014/main" val="1190134658"/>
                    </a:ext>
                  </a:extLst>
                </a:gridCol>
                <a:gridCol w="295492">
                  <a:extLst>
                    <a:ext uri="{9D8B030D-6E8A-4147-A177-3AD203B41FA5}">
                      <a16:colId xmlns:a16="http://schemas.microsoft.com/office/drawing/2014/main" val="1152288185"/>
                    </a:ext>
                  </a:extLst>
                </a:gridCol>
                <a:gridCol w="295492">
                  <a:extLst>
                    <a:ext uri="{9D8B030D-6E8A-4147-A177-3AD203B41FA5}">
                      <a16:colId xmlns:a16="http://schemas.microsoft.com/office/drawing/2014/main" val="1888319813"/>
                    </a:ext>
                  </a:extLst>
                </a:gridCol>
                <a:gridCol w="295492">
                  <a:extLst>
                    <a:ext uri="{9D8B030D-6E8A-4147-A177-3AD203B41FA5}">
                      <a16:colId xmlns:a16="http://schemas.microsoft.com/office/drawing/2014/main" val="3471064540"/>
                    </a:ext>
                  </a:extLst>
                </a:gridCol>
                <a:gridCol w="295492">
                  <a:extLst>
                    <a:ext uri="{9D8B030D-6E8A-4147-A177-3AD203B41FA5}">
                      <a16:colId xmlns:a16="http://schemas.microsoft.com/office/drawing/2014/main" val="670551899"/>
                    </a:ext>
                  </a:extLst>
                </a:gridCol>
                <a:gridCol w="295492">
                  <a:extLst>
                    <a:ext uri="{9D8B030D-6E8A-4147-A177-3AD203B41FA5}">
                      <a16:colId xmlns:a16="http://schemas.microsoft.com/office/drawing/2014/main" val="1100152168"/>
                    </a:ext>
                  </a:extLst>
                </a:gridCol>
                <a:gridCol w="295492">
                  <a:extLst>
                    <a:ext uri="{9D8B030D-6E8A-4147-A177-3AD203B41FA5}">
                      <a16:colId xmlns:a16="http://schemas.microsoft.com/office/drawing/2014/main" val="2165801595"/>
                    </a:ext>
                  </a:extLst>
                </a:gridCol>
                <a:gridCol w="295492">
                  <a:extLst>
                    <a:ext uri="{9D8B030D-6E8A-4147-A177-3AD203B41FA5}">
                      <a16:colId xmlns:a16="http://schemas.microsoft.com/office/drawing/2014/main" val="3981167565"/>
                    </a:ext>
                  </a:extLst>
                </a:gridCol>
                <a:gridCol w="295492">
                  <a:extLst>
                    <a:ext uri="{9D8B030D-6E8A-4147-A177-3AD203B41FA5}">
                      <a16:colId xmlns:a16="http://schemas.microsoft.com/office/drawing/2014/main" val="2740792325"/>
                    </a:ext>
                  </a:extLst>
                </a:gridCol>
                <a:gridCol w="295492">
                  <a:extLst>
                    <a:ext uri="{9D8B030D-6E8A-4147-A177-3AD203B41FA5}">
                      <a16:colId xmlns:a16="http://schemas.microsoft.com/office/drawing/2014/main" val="54782936"/>
                    </a:ext>
                  </a:extLst>
                </a:gridCol>
                <a:gridCol w="295492">
                  <a:extLst>
                    <a:ext uri="{9D8B030D-6E8A-4147-A177-3AD203B41FA5}">
                      <a16:colId xmlns:a16="http://schemas.microsoft.com/office/drawing/2014/main" val="154020430"/>
                    </a:ext>
                  </a:extLst>
                </a:gridCol>
                <a:gridCol w="295492">
                  <a:extLst>
                    <a:ext uri="{9D8B030D-6E8A-4147-A177-3AD203B41FA5}">
                      <a16:colId xmlns:a16="http://schemas.microsoft.com/office/drawing/2014/main" val="3928813835"/>
                    </a:ext>
                  </a:extLst>
                </a:gridCol>
                <a:gridCol w="295492">
                  <a:extLst>
                    <a:ext uri="{9D8B030D-6E8A-4147-A177-3AD203B41FA5}">
                      <a16:colId xmlns:a16="http://schemas.microsoft.com/office/drawing/2014/main" val="4210253042"/>
                    </a:ext>
                  </a:extLst>
                </a:gridCol>
                <a:gridCol w="295492">
                  <a:extLst>
                    <a:ext uri="{9D8B030D-6E8A-4147-A177-3AD203B41FA5}">
                      <a16:colId xmlns:a16="http://schemas.microsoft.com/office/drawing/2014/main" val="895787419"/>
                    </a:ext>
                  </a:extLst>
                </a:gridCol>
                <a:gridCol w="295492">
                  <a:extLst>
                    <a:ext uri="{9D8B030D-6E8A-4147-A177-3AD203B41FA5}">
                      <a16:colId xmlns:a16="http://schemas.microsoft.com/office/drawing/2014/main" val="3828388578"/>
                    </a:ext>
                  </a:extLst>
                </a:gridCol>
                <a:gridCol w="295492">
                  <a:extLst>
                    <a:ext uri="{9D8B030D-6E8A-4147-A177-3AD203B41FA5}">
                      <a16:colId xmlns:a16="http://schemas.microsoft.com/office/drawing/2014/main" val="742550205"/>
                    </a:ext>
                  </a:extLst>
                </a:gridCol>
                <a:gridCol w="295492">
                  <a:extLst>
                    <a:ext uri="{9D8B030D-6E8A-4147-A177-3AD203B41FA5}">
                      <a16:colId xmlns:a16="http://schemas.microsoft.com/office/drawing/2014/main" val="1408879461"/>
                    </a:ext>
                  </a:extLst>
                </a:gridCol>
              </a:tblGrid>
              <a:tr h="251292">
                <a:tc>
                  <a:txBody>
                    <a:bodyPr/>
                    <a:lstStyle/>
                    <a:p>
                      <a:r>
                        <a:rPr lang="en-US" sz="800" b="1" i="0" dirty="0">
                          <a:solidFill>
                            <a:schemeClr val="bg1"/>
                          </a:solidFill>
                          <a:latin typeface="+mj-lt"/>
                        </a:rPr>
                        <a:t>Sales </a:t>
                      </a:r>
                      <a:r>
                        <a:rPr lang="en-US" sz="800" b="1" i="0">
                          <a:solidFill>
                            <a:schemeClr val="bg1"/>
                          </a:solidFill>
                          <a:latin typeface="+mj-lt"/>
                        </a:rPr>
                        <a:t>Vs. 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rPr dirty="0"/>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rPr dirty="0"/>
                        <a:t>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helf </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Price</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Unit</a:t>
            </a:r>
          </a:p>
          <a:p>
            <a:pPr marL="0" marR="0" lvl="0" indent="0" defTabSz="685749"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Nexa Bold" panose="00000800000000000000" pitchFamily="2" charset="0"/>
              </a:rPr>
              <a:t>(</a:t>
            </a:r>
            <a:r>
              <a:rPr lang="en-US" sz="800" dirty="0">
                <a:solidFill>
                  <a:schemeClr val="tx1"/>
                </a:solidFill>
                <a:highlight>
                  <a:srgbClr val="FFFF00"/>
                </a:highlight>
                <a:latin typeface="Nexa Bold" panose="00000800000000000000" pitchFamily="2" charset="0"/>
              </a:rPr>
              <a:t>€</a:t>
            </a:r>
            <a:r>
              <a:rPr lang="en-US" sz="800" dirty="0">
                <a:solidFill>
                  <a:schemeClr val="tx1"/>
                </a:solidFill>
                <a:latin typeface="Nexa Bold" panose="00000800000000000000" pitchFamily="2" charset="0"/>
              </a:rPr>
              <a:t>)</a:t>
            </a:r>
            <a:endPar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endParaRP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Value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ales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M)</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8/11/2025</a:t>
            </a:fld>
            <a:endParaRPr lang="en-US" sz="500"/>
          </a:p>
        </p:txBody>
      </p:sp>
    </p:spTree>
    <p:extLst>
      <p:ext uri="{BB962C8B-B14F-4D97-AF65-F5344CB8AC3E}">
        <p14:creationId xmlns:p14="http://schemas.microsoft.com/office/powerpoint/2010/main" val="1231166407"/>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1</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r>
              <a:rPr lang="en-US" dirty="0"/>
              <a:t>Inter-size Discount  | </a:t>
            </a:r>
            <a:r>
              <a:rPr lang="en-US" dirty="0">
                <a:highlight>
                  <a:srgbClr val="FFFF00"/>
                </a:highlight>
              </a:rPr>
              <a:t>Variant</a:t>
            </a:r>
            <a:r>
              <a:rPr lang="en-US" dirty="0"/>
              <a:t> | </a:t>
            </a:r>
            <a:r>
              <a:rPr lang="en-US" dirty="0">
                <a:highlight>
                  <a:srgbClr val="FFFF00"/>
                </a:highlight>
              </a:rPr>
              <a:t>National</a:t>
            </a:r>
            <a:r>
              <a:rPr lang="en-US" dirty="0"/>
              <a:t> | P12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2800073758"/>
              </p:ext>
            </p:extLst>
          </p:nvPr>
        </p:nvGraphicFramePr>
        <p:xfrm>
          <a:off x="555229" y="4265104"/>
          <a:ext cx="7441138"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95492">
                  <a:extLst>
                    <a:ext uri="{9D8B030D-6E8A-4147-A177-3AD203B41FA5}">
                      <a16:colId xmlns:a16="http://schemas.microsoft.com/office/drawing/2014/main" val="2253286919"/>
                    </a:ext>
                  </a:extLst>
                </a:gridCol>
                <a:gridCol w="295492">
                  <a:extLst>
                    <a:ext uri="{9D8B030D-6E8A-4147-A177-3AD203B41FA5}">
                      <a16:colId xmlns:a16="http://schemas.microsoft.com/office/drawing/2014/main" val="2739285047"/>
                    </a:ext>
                  </a:extLst>
                </a:gridCol>
                <a:gridCol w="295492">
                  <a:extLst>
                    <a:ext uri="{9D8B030D-6E8A-4147-A177-3AD203B41FA5}">
                      <a16:colId xmlns:a16="http://schemas.microsoft.com/office/drawing/2014/main" val="686050863"/>
                    </a:ext>
                  </a:extLst>
                </a:gridCol>
                <a:gridCol w="295492">
                  <a:extLst>
                    <a:ext uri="{9D8B030D-6E8A-4147-A177-3AD203B41FA5}">
                      <a16:colId xmlns:a16="http://schemas.microsoft.com/office/drawing/2014/main" val="3765127706"/>
                    </a:ext>
                  </a:extLst>
                </a:gridCol>
                <a:gridCol w="295492">
                  <a:extLst>
                    <a:ext uri="{9D8B030D-6E8A-4147-A177-3AD203B41FA5}">
                      <a16:colId xmlns:a16="http://schemas.microsoft.com/office/drawing/2014/main" val="273303937"/>
                    </a:ext>
                  </a:extLst>
                </a:gridCol>
                <a:gridCol w="295492">
                  <a:extLst>
                    <a:ext uri="{9D8B030D-6E8A-4147-A177-3AD203B41FA5}">
                      <a16:colId xmlns:a16="http://schemas.microsoft.com/office/drawing/2014/main" val="1190134658"/>
                    </a:ext>
                  </a:extLst>
                </a:gridCol>
                <a:gridCol w="295492">
                  <a:extLst>
                    <a:ext uri="{9D8B030D-6E8A-4147-A177-3AD203B41FA5}">
                      <a16:colId xmlns:a16="http://schemas.microsoft.com/office/drawing/2014/main" val="1152288185"/>
                    </a:ext>
                  </a:extLst>
                </a:gridCol>
                <a:gridCol w="295492">
                  <a:extLst>
                    <a:ext uri="{9D8B030D-6E8A-4147-A177-3AD203B41FA5}">
                      <a16:colId xmlns:a16="http://schemas.microsoft.com/office/drawing/2014/main" val="1888319813"/>
                    </a:ext>
                  </a:extLst>
                </a:gridCol>
                <a:gridCol w="295492">
                  <a:extLst>
                    <a:ext uri="{9D8B030D-6E8A-4147-A177-3AD203B41FA5}">
                      <a16:colId xmlns:a16="http://schemas.microsoft.com/office/drawing/2014/main" val="3471064540"/>
                    </a:ext>
                  </a:extLst>
                </a:gridCol>
                <a:gridCol w="295492">
                  <a:extLst>
                    <a:ext uri="{9D8B030D-6E8A-4147-A177-3AD203B41FA5}">
                      <a16:colId xmlns:a16="http://schemas.microsoft.com/office/drawing/2014/main" val="670551899"/>
                    </a:ext>
                  </a:extLst>
                </a:gridCol>
                <a:gridCol w="295492">
                  <a:extLst>
                    <a:ext uri="{9D8B030D-6E8A-4147-A177-3AD203B41FA5}">
                      <a16:colId xmlns:a16="http://schemas.microsoft.com/office/drawing/2014/main" val="1100152168"/>
                    </a:ext>
                  </a:extLst>
                </a:gridCol>
                <a:gridCol w="295492">
                  <a:extLst>
                    <a:ext uri="{9D8B030D-6E8A-4147-A177-3AD203B41FA5}">
                      <a16:colId xmlns:a16="http://schemas.microsoft.com/office/drawing/2014/main" val="2165801595"/>
                    </a:ext>
                  </a:extLst>
                </a:gridCol>
                <a:gridCol w="295492">
                  <a:extLst>
                    <a:ext uri="{9D8B030D-6E8A-4147-A177-3AD203B41FA5}">
                      <a16:colId xmlns:a16="http://schemas.microsoft.com/office/drawing/2014/main" val="3981167565"/>
                    </a:ext>
                  </a:extLst>
                </a:gridCol>
                <a:gridCol w="295492">
                  <a:extLst>
                    <a:ext uri="{9D8B030D-6E8A-4147-A177-3AD203B41FA5}">
                      <a16:colId xmlns:a16="http://schemas.microsoft.com/office/drawing/2014/main" val="2740792325"/>
                    </a:ext>
                  </a:extLst>
                </a:gridCol>
                <a:gridCol w="295492">
                  <a:extLst>
                    <a:ext uri="{9D8B030D-6E8A-4147-A177-3AD203B41FA5}">
                      <a16:colId xmlns:a16="http://schemas.microsoft.com/office/drawing/2014/main" val="54782936"/>
                    </a:ext>
                  </a:extLst>
                </a:gridCol>
                <a:gridCol w="295492">
                  <a:extLst>
                    <a:ext uri="{9D8B030D-6E8A-4147-A177-3AD203B41FA5}">
                      <a16:colId xmlns:a16="http://schemas.microsoft.com/office/drawing/2014/main" val="154020430"/>
                    </a:ext>
                  </a:extLst>
                </a:gridCol>
                <a:gridCol w="295492">
                  <a:extLst>
                    <a:ext uri="{9D8B030D-6E8A-4147-A177-3AD203B41FA5}">
                      <a16:colId xmlns:a16="http://schemas.microsoft.com/office/drawing/2014/main" val="3928813835"/>
                    </a:ext>
                  </a:extLst>
                </a:gridCol>
                <a:gridCol w="295492">
                  <a:extLst>
                    <a:ext uri="{9D8B030D-6E8A-4147-A177-3AD203B41FA5}">
                      <a16:colId xmlns:a16="http://schemas.microsoft.com/office/drawing/2014/main" val="4210253042"/>
                    </a:ext>
                  </a:extLst>
                </a:gridCol>
                <a:gridCol w="295492">
                  <a:extLst>
                    <a:ext uri="{9D8B030D-6E8A-4147-A177-3AD203B41FA5}">
                      <a16:colId xmlns:a16="http://schemas.microsoft.com/office/drawing/2014/main" val="895787419"/>
                    </a:ext>
                  </a:extLst>
                </a:gridCol>
                <a:gridCol w="295492">
                  <a:extLst>
                    <a:ext uri="{9D8B030D-6E8A-4147-A177-3AD203B41FA5}">
                      <a16:colId xmlns:a16="http://schemas.microsoft.com/office/drawing/2014/main" val="3828388578"/>
                    </a:ext>
                  </a:extLst>
                </a:gridCol>
                <a:gridCol w="295492">
                  <a:extLst>
                    <a:ext uri="{9D8B030D-6E8A-4147-A177-3AD203B41FA5}">
                      <a16:colId xmlns:a16="http://schemas.microsoft.com/office/drawing/2014/main" val="742550205"/>
                    </a:ext>
                  </a:extLst>
                </a:gridCol>
                <a:gridCol w="295492">
                  <a:extLst>
                    <a:ext uri="{9D8B030D-6E8A-4147-A177-3AD203B41FA5}">
                      <a16:colId xmlns:a16="http://schemas.microsoft.com/office/drawing/2014/main" val="1408879461"/>
                    </a:ext>
                  </a:extLst>
                </a:gridCol>
              </a:tblGrid>
              <a:tr h="251292">
                <a:tc>
                  <a:txBody>
                    <a:bodyPr/>
                    <a:lstStyle/>
                    <a:p>
                      <a:r>
                        <a:rPr lang="en-US" sz="800" b="1" i="0" dirty="0">
                          <a:solidFill>
                            <a:schemeClr val="bg1"/>
                          </a:solidFill>
                          <a:latin typeface="+mj-lt"/>
                        </a:rPr>
                        <a:t>Sales </a:t>
                      </a:r>
                      <a:r>
                        <a:rPr lang="en-US" sz="800" b="1" i="0">
                          <a:solidFill>
                            <a:schemeClr val="bg1"/>
                          </a:solidFill>
                          <a:latin typeface="+mj-lt"/>
                        </a:rPr>
                        <a:t>Vs. 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rPr dirty="0"/>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rPr dirty="0"/>
                        <a:t>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helf </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Price</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Unit</a:t>
            </a:r>
          </a:p>
          <a:p>
            <a:pPr marL="0" marR="0" lvl="0" indent="0" defTabSz="685749"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Nexa Bold" panose="00000800000000000000" pitchFamily="2" charset="0"/>
              </a:rPr>
              <a:t>(</a:t>
            </a:r>
            <a:r>
              <a:rPr lang="en-US" sz="800" dirty="0">
                <a:solidFill>
                  <a:schemeClr val="tx1"/>
                </a:solidFill>
                <a:highlight>
                  <a:srgbClr val="FFFF00"/>
                </a:highlight>
                <a:latin typeface="Nexa Bold" panose="00000800000000000000" pitchFamily="2" charset="0"/>
              </a:rPr>
              <a:t>€</a:t>
            </a:r>
            <a:r>
              <a:rPr lang="en-US" sz="800" dirty="0">
                <a:solidFill>
                  <a:schemeClr val="tx1"/>
                </a:solidFill>
                <a:latin typeface="Nexa Bold" panose="00000800000000000000" pitchFamily="2" charset="0"/>
              </a:rPr>
              <a:t>)</a:t>
            </a:r>
            <a:endPar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endParaRP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Value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ales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M)</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8/11/2025</a:t>
            </a:fld>
            <a:endParaRPr lang="en-US" sz="500"/>
          </a:p>
        </p:txBody>
      </p:sp>
    </p:spTree>
    <p:extLst>
      <p:ext uri="{BB962C8B-B14F-4D97-AF65-F5344CB8AC3E}">
        <p14:creationId xmlns:p14="http://schemas.microsoft.com/office/powerpoint/2010/main" val="107409983"/>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2</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r>
              <a:rPr lang="en-US" dirty="0"/>
              <a:t>Inter-size Discount  | </a:t>
            </a:r>
            <a:r>
              <a:rPr lang="en-US" dirty="0">
                <a:highlight>
                  <a:srgbClr val="FFFF00"/>
                </a:highlight>
              </a:rPr>
              <a:t>Variant</a:t>
            </a:r>
            <a:r>
              <a:rPr lang="en-US" dirty="0"/>
              <a:t> | </a:t>
            </a:r>
            <a:r>
              <a:rPr lang="en-US" dirty="0">
                <a:highlight>
                  <a:srgbClr val="FFFF00"/>
                </a:highlight>
              </a:rPr>
              <a:t>National</a:t>
            </a:r>
            <a:r>
              <a:rPr lang="en-US" dirty="0"/>
              <a:t> | P12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2800073758"/>
              </p:ext>
            </p:extLst>
          </p:nvPr>
        </p:nvGraphicFramePr>
        <p:xfrm>
          <a:off x="555229" y="4265104"/>
          <a:ext cx="7441138"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95492">
                  <a:extLst>
                    <a:ext uri="{9D8B030D-6E8A-4147-A177-3AD203B41FA5}">
                      <a16:colId xmlns:a16="http://schemas.microsoft.com/office/drawing/2014/main" val="2253286919"/>
                    </a:ext>
                  </a:extLst>
                </a:gridCol>
                <a:gridCol w="295492">
                  <a:extLst>
                    <a:ext uri="{9D8B030D-6E8A-4147-A177-3AD203B41FA5}">
                      <a16:colId xmlns:a16="http://schemas.microsoft.com/office/drawing/2014/main" val="2739285047"/>
                    </a:ext>
                  </a:extLst>
                </a:gridCol>
                <a:gridCol w="295492">
                  <a:extLst>
                    <a:ext uri="{9D8B030D-6E8A-4147-A177-3AD203B41FA5}">
                      <a16:colId xmlns:a16="http://schemas.microsoft.com/office/drawing/2014/main" val="686050863"/>
                    </a:ext>
                  </a:extLst>
                </a:gridCol>
                <a:gridCol w="295492">
                  <a:extLst>
                    <a:ext uri="{9D8B030D-6E8A-4147-A177-3AD203B41FA5}">
                      <a16:colId xmlns:a16="http://schemas.microsoft.com/office/drawing/2014/main" val="3765127706"/>
                    </a:ext>
                  </a:extLst>
                </a:gridCol>
                <a:gridCol w="295492">
                  <a:extLst>
                    <a:ext uri="{9D8B030D-6E8A-4147-A177-3AD203B41FA5}">
                      <a16:colId xmlns:a16="http://schemas.microsoft.com/office/drawing/2014/main" val="273303937"/>
                    </a:ext>
                  </a:extLst>
                </a:gridCol>
                <a:gridCol w="295492">
                  <a:extLst>
                    <a:ext uri="{9D8B030D-6E8A-4147-A177-3AD203B41FA5}">
                      <a16:colId xmlns:a16="http://schemas.microsoft.com/office/drawing/2014/main" val="1190134658"/>
                    </a:ext>
                  </a:extLst>
                </a:gridCol>
                <a:gridCol w="295492">
                  <a:extLst>
                    <a:ext uri="{9D8B030D-6E8A-4147-A177-3AD203B41FA5}">
                      <a16:colId xmlns:a16="http://schemas.microsoft.com/office/drawing/2014/main" val="1152288185"/>
                    </a:ext>
                  </a:extLst>
                </a:gridCol>
                <a:gridCol w="295492">
                  <a:extLst>
                    <a:ext uri="{9D8B030D-6E8A-4147-A177-3AD203B41FA5}">
                      <a16:colId xmlns:a16="http://schemas.microsoft.com/office/drawing/2014/main" val="1888319813"/>
                    </a:ext>
                  </a:extLst>
                </a:gridCol>
                <a:gridCol w="295492">
                  <a:extLst>
                    <a:ext uri="{9D8B030D-6E8A-4147-A177-3AD203B41FA5}">
                      <a16:colId xmlns:a16="http://schemas.microsoft.com/office/drawing/2014/main" val="3471064540"/>
                    </a:ext>
                  </a:extLst>
                </a:gridCol>
                <a:gridCol w="295492">
                  <a:extLst>
                    <a:ext uri="{9D8B030D-6E8A-4147-A177-3AD203B41FA5}">
                      <a16:colId xmlns:a16="http://schemas.microsoft.com/office/drawing/2014/main" val="670551899"/>
                    </a:ext>
                  </a:extLst>
                </a:gridCol>
                <a:gridCol w="295492">
                  <a:extLst>
                    <a:ext uri="{9D8B030D-6E8A-4147-A177-3AD203B41FA5}">
                      <a16:colId xmlns:a16="http://schemas.microsoft.com/office/drawing/2014/main" val="1100152168"/>
                    </a:ext>
                  </a:extLst>
                </a:gridCol>
                <a:gridCol w="295492">
                  <a:extLst>
                    <a:ext uri="{9D8B030D-6E8A-4147-A177-3AD203B41FA5}">
                      <a16:colId xmlns:a16="http://schemas.microsoft.com/office/drawing/2014/main" val="2165801595"/>
                    </a:ext>
                  </a:extLst>
                </a:gridCol>
                <a:gridCol w="295492">
                  <a:extLst>
                    <a:ext uri="{9D8B030D-6E8A-4147-A177-3AD203B41FA5}">
                      <a16:colId xmlns:a16="http://schemas.microsoft.com/office/drawing/2014/main" val="3981167565"/>
                    </a:ext>
                  </a:extLst>
                </a:gridCol>
                <a:gridCol w="295492">
                  <a:extLst>
                    <a:ext uri="{9D8B030D-6E8A-4147-A177-3AD203B41FA5}">
                      <a16:colId xmlns:a16="http://schemas.microsoft.com/office/drawing/2014/main" val="2740792325"/>
                    </a:ext>
                  </a:extLst>
                </a:gridCol>
                <a:gridCol w="295492">
                  <a:extLst>
                    <a:ext uri="{9D8B030D-6E8A-4147-A177-3AD203B41FA5}">
                      <a16:colId xmlns:a16="http://schemas.microsoft.com/office/drawing/2014/main" val="54782936"/>
                    </a:ext>
                  </a:extLst>
                </a:gridCol>
                <a:gridCol w="295492">
                  <a:extLst>
                    <a:ext uri="{9D8B030D-6E8A-4147-A177-3AD203B41FA5}">
                      <a16:colId xmlns:a16="http://schemas.microsoft.com/office/drawing/2014/main" val="154020430"/>
                    </a:ext>
                  </a:extLst>
                </a:gridCol>
                <a:gridCol w="295492">
                  <a:extLst>
                    <a:ext uri="{9D8B030D-6E8A-4147-A177-3AD203B41FA5}">
                      <a16:colId xmlns:a16="http://schemas.microsoft.com/office/drawing/2014/main" val="3928813835"/>
                    </a:ext>
                  </a:extLst>
                </a:gridCol>
                <a:gridCol w="295492">
                  <a:extLst>
                    <a:ext uri="{9D8B030D-6E8A-4147-A177-3AD203B41FA5}">
                      <a16:colId xmlns:a16="http://schemas.microsoft.com/office/drawing/2014/main" val="4210253042"/>
                    </a:ext>
                  </a:extLst>
                </a:gridCol>
                <a:gridCol w="295492">
                  <a:extLst>
                    <a:ext uri="{9D8B030D-6E8A-4147-A177-3AD203B41FA5}">
                      <a16:colId xmlns:a16="http://schemas.microsoft.com/office/drawing/2014/main" val="895787419"/>
                    </a:ext>
                  </a:extLst>
                </a:gridCol>
                <a:gridCol w="295492">
                  <a:extLst>
                    <a:ext uri="{9D8B030D-6E8A-4147-A177-3AD203B41FA5}">
                      <a16:colId xmlns:a16="http://schemas.microsoft.com/office/drawing/2014/main" val="3828388578"/>
                    </a:ext>
                  </a:extLst>
                </a:gridCol>
                <a:gridCol w="295492">
                  <a:extLst>
                    <a:ext uri="{9D8B030D-6E8A-4147-A177-3AD203B41FA5}">
                      <a16:colId xmlns:a16="http://schemas.microsoft.com/office/drawing/2014/main" val="742550205"/>
                    </a:ext>
                  </a:extLst>
                </a:gridCol>
                <a:gridCol w="295492">
                  <a:extLst>
                    <a:ext uri="{9D8B030D-6E8A-4147-A177-3AD203B41FA5}">
                      <a16:colId xmlns:a16="http://schemas.microsoft.com/office/drawing/2014/main" val="1408879461"/>
                    </a:ext>
                  </a:extLst>
                </a:gridCol>
              </a:tblGrid>
              <a:tr h="251292">
                <a:tc>
                  <a:txBody>
                    <a:bodyPr/>
                    <a:lstStyle/>
                    <a:p>
                      <a:r>
                        <a:rPr lang="en-US" sz="800" b="1" i="0" dirty="0">
                          <a:solidFill>
                            <a:schemeClr val="bg1"/>
                          </a:solidFill>
                          <a:latin typeface="+mj-lt"/>
                        </a:rPr>
                        <a:t>Sales </a:t>
                      </a:r>
                      <a:r>
                        <a:rPr lang="en-US" sz="800" b="1" i="0">
                          <a:solidFill>
                            <a:schemeClr val="bg1"/>
                          </a:solidFill>
                          <a:latin typeface="+mj-lt"/>
                        </a:rPr>
                        <a:t>Vs. 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rPr dirty="0"/>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rPr dirty="0"/>
                        <a:t>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helf </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Price</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Unit</a:t>
            </a:r>
          </a:p>
          <a:p>
            <a:pPr marL="0" marR="0" lvl="0" indent="0" defTabSz="685749"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Nexa Bold" panose="00000800000000000000" pitchFamily="2" charset="0"/>
              </a:rPr>
              <a:t>(</a:t>
            </a:r>
            <a:r>
              <a:rPr lang="en-US" sz="800" dirty="0">
                <a:solidFill>
                  <a:schemeClr val="tx1"/>
                </a:solidFill>
                <a:highlight>
                  <a:srgbClr val="FFFF00"/>
                </a:highlight>
                <a:latin typeface="Nexa Bold" panose="00000800000000000000" pitchFamily="2" charset="0"/>
              </a:rPr>
              <a:t>€</a:t>
            </a:r>
            <a:r>
              <a:rPr lang="en-US" sz="800" dirty="0">
                <a:solidFill>
                  <a:schemeClr val="tx1"/>
                </a:solidFill>
                <a:latin typeface="Nexa Bold" panose="00000800000000000000" pitchFamily="2" charset="0"/>
              </a:rPr>
              <a:t>)</a:t>
            </a:r>
            <a:endPar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endParaRP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Value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ales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M)</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8/11/2025</a:t>
            </a:fld>
            <a:endParaRPr lang="en-US" sz="500"/>
          </a:p>
        </p:txBody>
      </p:sp>
    </p:spTree>
    <p:extLst>
      <p:ext uri="{BB962C8B-B14F-4D97-AF65-F5344CB8AC3E}">
        <p14:creationId xmlns:p14="http://schemas.microsoft.com/office/powerpoint/2010/main" val="2800917018"/>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3</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r>
              <a:rPr lang="en-US" dirty="0"/>
              <a:t>Inter-size Discount  | </a:t>
            </a:r>
            <a:r>
              <a:rPr lang="en-US" dirty="0">
                <a:highlight>
                  <a:srgbClr val="FFFF00"/>
                </a:highlight>
              </a:rPr>
              <a:t>Variant</a:t>
            </a:r>
            <a:r>
              <a:rPr lang="en-US" dirty="0"/>
              <a:t> | </a:t>
            </a:r>
            <a:r>
              <a:rPr lang="en-US" dirty="0">
                <a:highlight>
                  <a:srgbClr val="FFFF00"/>
                </a:highlight>
              </a:rPr>
              <a:t>National</a:t>
            </a:r>
            <a:r>
              <a:rPr lang="en-US" dirty="0"/>
              <a:t> | P12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2800073758"/>
              </p:ext>
            </p:extLst>
          </p:nvPr>
        </p:nvGraphicFramePr>
        <p:xfrm>
          <a:off x="555229" y="4265104"/>
          <a:ext cx="7441138"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95492">
                  <a:extLst>
                    <a:ext uri="{9D8B030D-6E8A-4147-A177-3AD203B41FA5}">
                      <a16:colId xmlns:a16="http://schemas.microsoft.com/office/drawing/2014/main" val="2253286919"/>
                    </a:ext>
                  </a:extLst>
                </a:gridCol>
                <a:gridCol w="295492">
                  <a:extLst>
                    <a:ext uri="{9D8B030D-6E8A-4147-A177-3AD203B41FA5}">
                      <a16:colId xmlns:a16="http://schemas.microsoft.com/office/drawing/2014/main" val="2739285047"/>
                    </a:ext>
                  </a:extLst>
                </a:gridCol>
                <a:gridCol w="295492">
                  <a:extLst>
                    <a:ext uri="{9D8B030D-6E8A-4147-A177-3AD203B41FA5}">
                      <a16:colId xmlns:a16="http://schemas.microsoft.com/office/drawing/2014/main" val="686050863"/>
                    </a:ext>
                  </a:extLst>
                </a:gridCol>
                <a:gridCol w="295492">
                  <a:extLst>
                    <a:ext uri="{9D8B030D-6E8A-4147-A177-3AD203B41FA5}">
                      <a16:colId xmlns:a16="http://schemas.microsoft.com/office/drawing/2014/main" val="3765127706"/>
                    </a:ext>
                  </a:extLst>
                </a:gridCol>
                <a:gridCol w="295492">
                  <a:extLst>
                    <a:ext uri="{9D8B030D-6E8A-4147-A177-3AD203B41FA5}">
                      <a16:colId xmlns:a16="http://schemas.microsoft.com/office/drawing/2014/main" val="273303937"/>
                    </a:ext>
                  </a:extLst>
                </a:gridCol>
                <a:gridCol w="295492">
                  <a:extLst>
                    <a:ext uri="{9D8B030D-6E8A-4147-A177-3AD203B41FA5}">
                      <a16:colId xmlns:a16="http://schemas.microsoft.com/office/drawing/2014/main" val="1190134658"/>
                    </a:ext>
                  </a:extLst>
                </a:gridCol>
                <a:gridCol w="295492">
                  <a:extLst>
                    <a:ext uri="{9D8B030D-6E8A-4147-A177-3AD203B41FA5}">
                      <a16:colId xmlns:a16="http://schemas.microsoft.com/office/drawing/2014/main" val="1152288185"/>
                    </a:ext>
                  </a:extLst>
                </a:gridCol>
                <a:gridCol w="295492">
                  <a:extLst>
                    <a:ext uri="{9D8B030D-6E8A-4147-A177-3AD203B41FA5}">
                      <a16:colId xmlns:a16="http://schemas.microsoft.com/office/drawing/2014/main" val="1888319813"/>
                    </a:ext>
                  </a:extLst>
                </a:gridCol>
                <a:gridCol w="295492">
                  <a:extLst>
                    <a:ext uri="{9D8B030D-6E8A-4147-A177-3AD203B41FA5}">
                      <a16:colId xmlns:a16="http://schemas.microsoft.com/office/drawing/2014/main" val="3471064540"/>
                    </a:ext>
                  </a:extLst>
                </a:gridCol>
                <a:gridCol w="295492">
                  <a:extLst>
                    <a:ext uri="{9D8B030D-6E8A-4147-A177-3AD203B41FA5}">
                      <a16:colId xmlns:a16="http://schemas.microsoft.com/office/drawing/2014/main" val="670551899"/>
                    </a:ext>
                  </a:extLst>
                </a:gridCol>
                <a:gridCol w="295492">
                  <a:extLst>
                    <a:ext uri="{9D8B030D-6E8A-4147-A177-3AD203B41FA5}">
                      <a16:colId xmlns:a16="http://schemas.microsoft.com/office/drawing/2014/main" val="1100152168"/>
                    </a:ext>
                  </a:extLst>
                </a:gridCol>
                <a:gridCol w="295492">
                  <a:extLst>
                    <a:ext uri="{9D8B030D-6E8A-4147-A177-3AD203B41FA5}">
                      <a16:colId xmlns:a16="http://schemas.microsoft.com/office/drawing/2014/main" val="2165801595"/>
                    </a:ext>
                  </a:extLst>
                </a:gridCol>
                <a:gridCol w="295492">
                  <a:extLst>
                    <a:ext uri="{9D8B030D-6E8A-4147-A177-3AD203B41FA5}">
                      <a16:colId xmlns:a16="http://schemas.microsoft.com/office/drawing/2014/main" val="3981167565"/>
                    </a:ext>
                  </a:extLst>
                </a:gridCol>
                <a:gridCol w="295492">
                  <a:extLst>
                    <a:ext uri="{9D8B030D-6E8A-4147-A177-3AD203B41FA5}">
                      <a16:colId xmlns:a16="http://schemas.microsoft.com/office/drawing/2014/main" val="2740792325"/>
                    </a:ext>
                  </a:extLst>
                </a:gridCol>
                <a:gridCol w="295492">
                  <a:extLst>
                    <a:ext uri="{9D8B030D-6E8A-4147-A177-3AD203B41FA5}">
                      <a16:colId xmlns:a16="http://schemas.microsoft.com/office/drawing/2014/main" val="54782936"/>
                    </a:ext>
                  </a:extLst>
                </a:gridCol>
                <a:gridCol w="295492">
                  <a:extLst>
                    <a:ext uri="{9D8B030D-6E8A-4147-A177-3AD203B41FA5}">
                      <a16:colId xmlns:a16="http://schemas.microsoft.com/office/drawing/2014/main" val="154020430"/>
                    </a:ext>
                  </a:extLst>
                </a:gridCol>
                <a:gridCol w="295492">
                  <a:extLst>
                    <a:ext uri="{9D8B030D-6E8A-4147-A177-3AD203B41FA5}">
                      <a16:colId xmlns:a16="http://schemas.microsoft.com/office/drawing/2014/main" val="3928813835"/>
                    </a:ext>
                  </a:extLst>
                </a:gridCol>
                <a:gridCol w="295492">
                  <a:extLst>
                    <a:ext uri="{9D8B030D-6E8A-4147-A177-3AD203B41FA5}">
                      <a16:colId xmlns:a16="http://schemas.microsoft.com/office/drawing/2014/main" val="4210253042"/>
                    </a:ext>
                  </a:extLst>
                </a:gridCol>
                <a:gridCol w="295492">
                  <a:extLst>
                    <a:ext uri="{9D8B030D-6E8A-4147-A177-3AD203B41FA5}">
                      <a16:colId xmlns:a16="http://schemas.microsoft.com/office/drawing/2014/main" val="895787419"/>
                    </a:ext>
                  </a:extLst>
                </a:gridCol>
                <a:gridCol w="295492">
                  <a:extLst>
                    <a:ext uri="{9D8B030D-6E8A-4147-A177-3AD203B41FA5}">
                      <a16:colId xmlns:a16="http://schemas.microsoft.com/office/drawing/2014/main" val="3828388578"/>
                    </a:ext>
                  </a:extLst>
                </a:gridCol>
                <a:gridCol w="295492">
                  <a:extLst>
                    <a:ext uri="{9D8B030D-6E8A-4147-A177-3AD203B41FA5}">
                      <a16:colId xmlns:a16="http://schemas.microsoft.com/office/drawing/2014/main" val="742550205"/>
                    </a:ext>
                  </a:extLst>
                </a:gridCol>
                <a:gridCol w="295492">
                  <a:extLst>
                    <a:ext uri="{9D8B030D-6E8A-4147-A177-3AD203B41FA5}">
                      <a16:colId xmlns:a16="http://schemas.microsoft.com/office/drawing/2014/main" val="1408879461"/>
                    </a:ext>
                  </a:extLst>
                </a:gridCol>
              </a:tblGrid>
              <a:tr h="251292">
                <a:tc>
                  <a:txBody>
                    <a:bodyPr/>
                    <a:lstStyle/>
                    <a:p>
                      <a:r>
                        <a:rPr lang="en-US" sz="800" b="1" i="0" dirty="0">
                          <a:solidFill>
                            <a:schemeClr val="bg1"/>
                          </a:solidFill>
                          <a:latin typeface="+mj-lt"/>
                        </a:rPr>
                        <a:t>Sales </a:t>
                      </a:r>
                      <a:r>
                        <a:rPr lang="en-US" sz="800" b="1" i="0">
                          <a:solidFill>
                            <a:schemeClr val="bg1"/>
                          </a:solidFill>
                          <a:latin typeface="+mj-lt"/>
                        </a:rPr>
                        <a:t>Vs. 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rPr dirty="0"/>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rPr dirty="0"/>
                        <a:t>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helf </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Price</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Unit</a:t>
            </a:r>
          </a:p>
          <a:p>
            <a:pPr marL="0" marR="0" lvl="0" indent="0" defTabSz="685749"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Nexa Bold" panose="00000800000000000000" pitchFamily="2" charset="0"/>
              </a:rPr>
              <a:t>(</a:t>
            </a:r>
            <a:r>
              <a:rPr lang="en-US" sz="800" dirty="0">
                <a:solidFill>
                  <a:schemeClr val="tx1"/>
                </a:solidFill>
                <a:highlight>
                  <a:srgbClr val="FFFF00"/>
                </a:highlight>
                <a:latin typeface="Nexa Bold" panose="00000800000000000000" pitchFamily="2" charset="0"/>
              </a:rPr>
              <a:t>€</a:t>
            </a:r>
            <a:r>
              <a:rPr lang="en-US" sz="800" dirty="0">
                <a:solidFill>
                  <a:schemeClr val="tx1"/>
                </a:solidFill>
                <a:latin typeface="Nexa Bold" panose="00000800000000000000" pitchFamily="2" charset="0"/>
              </a:rPr>
              <a:t>)</a:t>
            </a:r>
            <a:endPar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endParaRP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Value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ales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M)</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8/11/2025</a:t>
            </a:fld>
            <a:endParaRPr lang="en-US" sz="500"/>
          </a:p>
        </p:txBody>
      </p:sp>
    </p:spTree>
    <p:extLst>
      <p:ext uri="{BB962C8B-B14F-4D97-AF65-F5344CB8AC3E}">
        <p14:creationId xmlns:p14="http://schemas.microsoft.com/office/powerpoint/2010/main" val="954932118"/>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4</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r>
              <a:rPr lang="en-US" dirty="0"/>
              <a:t>Inter-size Discount  | </a:t>
            </a:r>
            <a:r>
              <a:rPr lang="en-US" dirty="0">
                <a:highlight>
                  <a:srgbClr val="FFFF00"/>
                </a:highlight>
              </a:rPr>
              <a:t>Variant</a:t>
            </a:r>
            <a:r>
              <a:rPr lang="en-US" dirty="0"/>
              <a:t> | </a:t>
            </a:r>
            <a:r>
              <a:rPr lang="en-US" dirty="0">
                <a:highlight>
                  <a:srgbClr val="FFFF00"/>
                </a:highlight>
              </a:rPr>
              <a:t>National</a:t>
            </a:r>
            <a:r>
              <a:rPr lang="en-US" dirty="0"/>
              <a:t> | P12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2800073758"/>
              </p:ext>
            </p:extLst>
          </p:nvPr>
        </p:nvGraphicFramePr>
        <p:xfrm>
          <a:off x="555229" y="4265104"/>
          <a:ext cx="7441138"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95492">
                  <a:extLst>
                    <a:ext uri="{9D8B030D-6E8A-4147-A177-3AD203B41FA5}">
                      <a16:colId xmlns:a16="http://schemas.microsoft.com/office/drawing/2014/main" val="2253286919"/>
                    </a:ext>
                  </a:extLst>
                </a:gridCol>
                <a:gridCol w="295492">
                  <a:extLst>
                    <a:ext uri="{9D8B030D-6E8A-4147-A177-3AD203B41FA5}">
                      <a16:colId xmlns:a16="http://schemas.microsoft.com/office/drawing/2014/main" val="2739285047"/>
                    </a:ext>
                  </a:extLst>
                </a:gridCol>
                <a:gridCol w="295492">
                  <a:extLst>
                    <a:ext uri="{9D8B030D-6E8A-4147-A177-3AD203B41FA5}">
                      <a16:colId xmlns:a16="http://schemas.microsoft.com/office/drawing/2014/main" val="686050863"/>
                    </a:ext>
                  </a:extLst>
                </a:gridCol>
                <a:gridCol w="295492">
                  <a:extLst>
                    <a:ext uri="{9D8B030D-6E8A-4147-A177-3AD203B41FA5}">
                      <a16:colId xmlns:a16="http://schemas.microsoft.com/office/drawing/2014/main" val="3765127706"/>
                    </a:ext>
                  </a:extLst>
                </a:gridCol>
                <a:gridCol w="295492">
                  <a:extLst>
                    <a:ext uri="{9D8B030D-6E8A-4147-A177-3AD203B41FA5}">
                      <a16:colId xmlns:a16="http://schemas.microsoft.com/office/drawing/2014/main" val="273303937"/>
                    </a:ext>
                  </a:extLst>
                </a:gridCol>
                <a:gridCol w="295492">
                  <a:extLst>
                    <a:ext uri="{9D8B030D-6E8A-4147-A177-3AD203B41FA5}">
                      <a16:colId xmlns:a16="http://schemas.microsoft.com/office/drawing/2014/main" val="1190134658"/>
                    </a:ext>
                  </a:extLst>
                </a:gridCol>
                <a:gridCol w="295492">
                  <a:extLst>
                    <a:ext uri="{9D8B030D-6E8A-4147-A177-3AD203B41FA5}">
                      <a16:colId xmlns:a16="http://schemas.microsoft.com/office/drawing/2014/main" val="1152288185"/>
                    </a:ext>
                  </a:extLst>
                </a:gridCol>
                <a:gridCol w="295492">
                  <a:extLst>
                    <a:ext uri="{9D8B030D-6E8A-4147-A177-3AD203B41FA5}">
                      <a16:colId xmlns:a16="http://schemas.microsoft.com/office/drawing/2014/main" val="1888319813"/>
                    </a:ext>
                  </a:extLst>
                </a:gridCol>
                <a:gridCol w="295492">
                  <a:extLst>
                    <a:ext uri="{9D8B030D-6E8A-4147-A177-3AD203B41FA5}">
                      <a16:colId xmlns:a16="http://schemas.microsoft.com/office/drawing/2014/main" val="3471064540"/>
                    </a:ext>
                  </a:extLst>
                </a:gridCol>
                <a:gridCol w="295492">
                  <a:extLst>
                    <a:ext uri="{9D8B030D-6E8A-4147-A177-3AD203B41FA5}">
                      <a16:colId xmlns:a16="http://schemas.microsoft.com/office/drawing/2014/main" val="670551899"/>
                    </a:ext>
                  </a:extLst>
                </a:gridCol>
                <a:gridCol w="295492">
                  <a:extLst>
                    <a:ext uri="{9D8B030D-6E8A-4147-A177-3AD203B41FA5}">
                      <a16:colId xmlns:a16="http://schemas.microsoft.com/office/drawing/2014/main" val="1100152168"/>
                    </a:ext>
                  </a:extLst>
                </a:gridCol>
                <a:gridCol w="295492">
                  <a:extLst>
                    <a:ext uri="{9D8B030D-6E8A-4147-A177-3AD203B41FA5}">
                      <a16:colId xmlns:a16="http://schemas.microsoft.com/office/drawing/2014/main" val="2165801595"/>
                    </a:ext>
                  </a:extLst>
                </a:gridCol>
                <a:gridCol w="295492">
                  <a:extLst>
                    <a:ext uri="{9D8B030D-6E8A-4147-A177-3AD203B41FA5}">
                      <a16:colId xmlns:a16="http://schemas.microsoft.com/office/drawing/2014/main" val="3981167565"/>
                    </a:ext>
                  </a:extLst>
                </a:gridCol>
                <a:gridCol w="295492">
                  <a:extLst>
                    <a:ext uri="{9D8B030D-6E8A-4147-A177-3AD203B41FA5}">
                      <a16:colId xmlns:a16="http://schemas.microsoft.com/office/drawing/2014/main" val="2740792325"/>
                    </a:ext>
                  </a:extLst>
                </a:gridCol>
                <a:gridCol w="295492">
                  <a:extLst>
                    <a:ext uri="{9D8B030D-6E8A-4147-A177-3AD203B41FA5}">
                      <a16:colId xmlns:a16="http://schemas.microsoft.com/office/drawing/2014/main" val="54782936"/>
                    </a:ext>
                  </a:extLst>
                </a:gridCol>
                <a:gridCol w="295492">
                  <a:extLst>
                    <a:ext uri="{9D8B030D-6E8A-4147-A177-3AD203B41FA5}">
                      <a16:colId xmlns:a16="http://schemas.microsoft.com/office/drawing/2014/main" val="154020430"/>
                    </a:ext>
                  </a:extLst>
                </a:gridCol>
                <a:gridCol w="295492">
                  <a:extLst>
                    <a:ext uri="{9D8B030D-6E8A-4147-A177-3AD203B41FA5}">
                      <a16:colId xmlns:a16="http://schemas.microsoft.com/office/drawing/2014/main" val="3928813835"/>
                    </a:ext>
                  </a:extLst>
                </a:gridCol>
                <a:gridCol w="295492">
                  <a:extLst>
                    <a:ext uri="{9D8B030D-6E8A-4147-A177-3AD203B41FA5}">
                      <a16:colId xmlns:a16="http://schemas.microsoft.com/office/drawing/2014/main" val="4210253042"/>
                    </a:ext>
                  </a:extLst>
                </a:gridCol>
                <a:gridCol w="295492">
                  <a:extLst>
                    <a:ext uri="{9D8B030D-6E8A-4147-A177-3AD203B41FA5}">
                      <a16:colId xmlns:a16="http://schemas.microsoft.com/office/drawing/2014/main" val="895787419"/>
                    </a:ext>
                  </a:extLst>
                </a:gridCol>
                <a:gridCol w="295492">
                  <a:extLst>
                    <a:ext uri="{9D8B030D-6E8A-4147-A177-3AD203B41FA5}">
                      <a16:colId xmlns:a16="http://schemas.microsoft.com/office/drawing/2014/main" val="3828388578"/>
                    </a:ext>
                  </a:extLst>
                </a:gridCol>
                <a:gridCol w="295492">
                  <a:extLst>
                    <a:ext uri="{9D8B030D-6E8A-4147-A177-3AD203B41FA5}">
                      <a16:colId xmlns:a16="http://schemas.microsoft.com/office/drawing/2014/main" val="742550205"/>
                    </a:ext>
                  </a:extLst>
                </a:gridCol>
                <a:gridCol w="295492">
                  <a:extLst>
                    <a:ext uri="{9D8B030D-6E8A-4147-A177-3AD203B41FA5}">
                      <a16:colId xmlns:a16="http://schemas.microsoft.com/office/drawing/2014/main" val="1408879461"/>
                    </a:ext>
                  </a:extLst>
                </a:gridCol>
              </a:tblGrid>
              <a:tr h="251292">
                <a:tc>
                  <a:txBody>
                    <a:bodyPr/>
                    <a:lstStyle/>
                    <a:p>
                      <a:r>
                        <a:rPr lang="en-US" sz="800" b="1" i="0" dirty="0">
                          <a:solidFill>
                            <a:schemeClr val="bg1"/>
                          </a:solidFill>
                          <a:latin typeface="+mj-lt"/>
                        </a:rPr>
                        <a:t>Sales </a:t>
                      </a:r>
                      <a:r>
                        <a:rPr lang="en-US" sz="800" b="1" i="0">
                          <a:solidFill>
                            <a:schemeClr val="bg1"/>
                          </a:solidFill>
                          <a:latin typeface="+mj-lt"/>
                        </a:rPr>
                        <a:t>Vs. 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rPr dirty="0"/>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rPr dirty="0"/>
                        <a:t>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helf </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Price</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Unit</a:t>
            </a:r>
          </a:p>
          <a:p>
            <a:pPr marL="0" marR="0" lvl="0" indent="0" defTabSz="685749"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Nexa Bold" panose="00000800000000000000" pitchFamily="2" charset="0"/>
              </a:rPr>
              <a:t>(</a:t>
            </a:r>
            <a:r>
              <a:rPr lang="en-US" sz="800" dirty="0">
                <a:solidFill>
                  <a:schemeClr val="tx1"/>
                </a:solidFill>
                <a:highlight>
                  <a:srgbClr val="FFFF00"/>
                </a:highlight>
                <a:latin typeface="Nexa Bold" panose="00000800000000000000" pitchFamily="2" charset="0"/>
              </a:rPr>
              <a:t>€</a:t>
            </a:r>
            <a:r>
              <a:rPr lang="en-US" sz="800" dirty="0">
                <a:solidFill>
                  <a:schemeClr val="tx1"/>
                </a:solidFill>
                <a:latin typeface="Nexa Bold" panose="00000800000000000000" pitchFamily="2" charset="0"/>
              </a:rPr>
              <a:t>)</a:t>
            </a:r>
            <a:endPar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endParaRP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Value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ales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M)</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8/11/2025</a:t>
            </a:fld>
            <a:endParaRPr lang="en-US" sz="500"/>
          </a:p>
        </p:txBody>
      </p:sp>
    </p:spTree>
    <p:extLst>
      <p:ext uri="{BB962C8B-B14F-4D97-AF65-F5344CB8AC3E}">
        <p14:creationId xmlns:p14="http://schemas.microsoft.com/office/powerpoint/2010/main" val="3910839458"/>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5</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r>
              <a:rPr lang="en-US" dirty="0"/>
              <a:t>Inter-size Discount  | </a:t>
            </a:r>
            <a:r>
              <a:rPr lang="en-US" dirty="0">
                <a:highlight>
                  <a:srgbClr val="FFFF00"/>
                </a:highlight>
              </a:rPr>
              <a:t>Variant</a:t>
            </a:r>
            <a:r>
              <a:rPr lang="en-US" dirty="0"/>
              <a:t> | </a:t>
            </a:r>
            <a:r>
              <a:rPr lang="en-US" dirty="0">
                <a:highlight>
                  <a:srgbClr val="FFFF00"/>
                </a:highlight>
              </a:rPr>
              <a:t>National</a:t>
            </a:r>
            <a:r>
              <a:rPr lang="en-US" dirty="0"/>
              <a:t> | P12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2800073758"/>
              </p:ext>
            </p:extLst>
          </p:nvPr>
        </p:nvGraphicFramePr>
        <p:xfrm>
          <a:off x="555229" y="4265104"/>
          <a:ext cx="7441138"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95492">
                  <a:extLst>
                    <a:ext uri="{9D8B030D-6E8A-4147-A177-3AD203B41FA5}">
                      <a16:colId xmlns:a16="http://schemas.microsoft.com/office/drawing/2014/main" val="2253286919"/>
                    </a:ext>
                  </a:extLst>
                </a:gridCol>
                <a:gridCol w="295492">
                  <a:extLst>
                    <a:ext uri="{9D8B030D-6E8A-4147-A177-3AD203B41FA5}">
                      <a16:colId xmlns:a16="http://schemas.microsoft.com/office/drawing/2014/main" val="2739285047"/>
                    </a:ext>
                  </a:extLst>
                </a:gridCol>
                <a:gridCol w="295492">
                  <a:extLst>
                    <a:ext uri="{9D8B030D-6E8A-4147-A177-3AD203B41FA5}">
                      <a16:colId xmlns:a16="http://schemas.microsoft.com/office/drawing/2014/main" val="686050863"/>
                    </a:ext>
                  </a:extLst>
                </a:gridCol>
                <a:gridCol w="295492">
                  <a:extLst>
                    <a:ext uri="{9D8B030D-6E8A-4147-A177-3AD203B41FA5}">
                      <a16:colId xmlns:a16="http://schemas.microsoft.com/office/drawing/2014/main" val="3765127706"/>
                    </a:ext>
                  </a:extLst>
                </a:gridCol>
                <a:gridCol w="295492">
                  <a:extLst>
                    <a:ext uri="{9D8B030D-6E8A-4147-A177-3AD203B41FA5}">
                      <a16:colId xmlns:a16="http://schemas.microsoft.com/office/drawing/2014/main" val="273303937"/>
                    </a:ext>
                  </a:extLst>
                </a:gridCol>
                <a:gridCol w="295492">
                  <a:extLst>
                    <a:ext uri="{9D8B030D-6E8A-4147-A177-3AD203B41FA5}">
                      <a16:colId xmlns:a16="http://schemas.microsoft.com/office/drawing/2014/main" val="1190134658"/>
                    </a:ext>
                  </a:extLst>
                </a:gridCol>
                <a:gridCol w="295492">
                  <a:extLst>
                    <a:ext uri="{9D8B030D-6E8A-4147-A177-3AD203B41FA5}">
                      <a16:colId xmlns:a16="http://schemas.microsoft.com/office/drawing/2014/main" val="1152288185"/>
                    </a:ext>
                  </a:extLst>
                </a:gridCol>
                <a:gridCol w="295492">
                  <a:extLst>
                    <a:ext uri="{9D8B030D-6E8A-4147-A177-3AD203B41FA5}">
                      <a16:colId xmlns:a16="http://schemas.microsoft.com/office/drawing/2014/main" val="1888319813"/>
                    </a:ext>
                  </a:extLst>
                </a:gridCol>
                <a:gridCol w="295492">
                  <a:extLst>
                    <a:ext uri="{9D8B030D-6E8A-4147-A177-3AD203B41FA5}">
                      <a16:colId xmlns:a16="http://schemas.microsoft.com/office/drawing/2014/main" val="3471064540"/>
                    </a:ext>
                  </a:extLst>
                </a:gridCol>
                <a:gridCol w="295492">
                  <a:extLst>
                    <a:ext uri="{9D8B030D-6E8A-4147-A177-3AD203B41FA5}">
                      <a16:colId xmlns:a16="http://schemas.microsoft.com/office/drawing/2014/main" val="670551899"/>
                    </a:ext>
                  </a:extLst>
                </a:gridCol>
                <a:gridCol w="295492">
                  <a:extLst>
                    <a:ext uri="{9D8B030D-6E8A-4147-A177-3AD203B41FA5}">
                      <a16:colId xmlns:a16="http://schemas.microsoft.com/office/drawing/2014/main" val="1100152168"/>
                    </a:ext>
                  </a:extLst>
                </a:gridCol>
                <a:gridCol w="295492">
                  <a:extLst>
                    <a:ext uri="{9D8B030D-6E8A-4147-A177-3AD203B41FA5}">
                      <a16:colId xmlns:a16="http://schemas.microsoft.com/office/drawing/2014/main" val="2165801595"/>
                    </a:ext>
                  </a:extLst>
                </a:gridCol>
                <a:gridCol w="295492">
                  <a:extLst>
                    <a:ext uri="{9D8B030D-6E8A-4147-A177-3AD203B41FA5}">
                      <a16:colId xmlns:a16="http://schemas.microsoft.com/office/drawing/2014/main" val="3981167565"/>
                    </a:ext>
                  </a:extLst>
                </a:gridCol>
                <a:gridCol w="295492">
                  <a:extLst>
                    <a:ext uri="{9D8B030D-6E8A-4147-A177-3AD203B41FA5}">
                      <a16:colId xmlns:a16="http://schemas.microsoft.com/office/drawing/2014/main" val="2740792325"/>
                    </a:ext>
                  </a:extLst>
                </a:gridCol>
                <a:gridCol w="295492">
                  <a:extLst>
                    <a:ext uri="{9D8B030D-6E8A-4147-A177-3AD203B41FA5}">
                      <a16:colId xmlns:a16="http://schemas.microsoft.com/office/drawing/2014/main" val="54782936"/>
                    </a:ext>
                  </a:extLst>
                </a:gridCol>
                <a:gridCol w="295492">
                  <a:extLst>
                    <a:ext uri="{9D8B030D-6E8A-4147-A177-3AD203B41FA5}">
                      <a16:colId xmlns:a16="http://schemas.microsoft.com/office/drawing/2014/main" val="154020430"/>
                    </a:ext>
                  </a:extLst>
                </a:gridCol>
                <a:gridCol w="295492">
                  <a:extLst>
                    <a:ext uri="{9D8B030D-6E8A-4147-A177-3AD203B41FA5}">
                      <a16:colId xmlns:a16="http://schemas.microsoft.com/office/drawing/2014/main" val="3928813835"/>
                    </a:ext>
                  </a:extLst>
                </a:gridCol>
                <a:gridCol w="295492">
                  <a:extLst>
                    <a:ext uri="{9D8B030D-6E8A-4147-A177-3AD203B41FA5}">
                      <a16:colId xmlns:a16="http://schemas.microsoft.com/office/drawing/2014/main" val="4210253042"/>
                    </a:ext>
                  </a:extLst>
                </a:gridCol>
                <a:gridCol w="295492">
                  <a:extLst>
                    <a:ext uri="{9D8B030D-6E8A-4147-A177-3AD203B41FA5}">
                      <a16:colId xmlns:a16="http://schemas.microsoft.com/office/drawing/2014/main" val="895787419"/>
                    </a:ext>
                  </a:extLst>
                </a:gridCol>
                <a:gridCol w="295492">
                  <a:extLst>
                    <a:ext uri="{9D8B030D-6E8A-4147-A177-3AD203B41FA5}">
                      <a16:colId xmlns:a16="http://schemas.microsoft.com/office/drawing/2014/main" val="3828388578"/>
                    </a:ext>
                  </a:extLst>
                </a:gridCol>
                <a:gridCol w="295492">
                  <a:extLst>
                    <a:ext uri="{9D8B030D-6E8A-4147-A177-3AD203B41FA5}">
                      <a16:colId xmlns:a16="http://schemas.microsoft.com/office/drawing/2014/main" val="742550205"/>
                    </a:ext>
                  </a:extLst>
                </a:gridCol>
                <a:gridCol w="295492">
                  <a:extLst>
                    <a:ext uri="{9D8B030D-6E8A-4147-A177-3AD203B41FA5}">
                      <a16:colId xmlns:a16="http://schemas.microsoft.com/office/drawing/2014/main" val="1408879461"/>
                    </a:ext>
                  </a:extLst>
                </a:gridCol>
              </a:tblGrid>
              <a:tr h="251292">
                <a:tc>
                  <a:txBody>
                    <a:bodyPr/>
                    <a:lstStyle/>
                    <a:p>
                      <a:r>
                        <a:rPr lang="en-US" sz="800" b="1" i="0" dirty="0">
                          <a:solidFill>
                            <a:schemeClr val="bg1"/>
                          </a:solidFill>
                          <a:latin typeface="+mj-lt"/>
                        </a:rPr>
                        <a:t>Sales </a:t>
                      </a:r>
                      <a:r>
                        <a:rPr lang="en-US" sz="800" b="1" i="0">
                          <a:solidFill>
                            <a:schemeClr val="bg1"/>
                          </a:solidFill>
                          <a:latin typeface="+mj-lt"/>
                        </a:rPr>
                        <a:t>Vs. 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rPr dirty="0"/>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rPr dirty="0"/>
                        <a:t>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helf </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Price</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Unit</a:t>
            </a:r>
          </a:p>
          <a:p>
            <a:pPr marL="0" marR="0" lvl="0" indent="0" defTabSz="685749"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Nexa Bold" panose="00000800000000000000" pitchFamily="2" charset="0"/>
              </a:rPr>
              <a:t>(</a:t>
            </a:r>
            <a:r>
              <a:rPr lang="en-US" sz="800" dirty="0">
                <a:solidFill>
                  <a:schemeClr val="tx1"/>
                </a:solidFill>
                <a:highlight>
                  <a:srgbClr val="FFFF00"/>
                </a:highlight>
                <a:latin typeface="Nexa Bold" panose="00000800000000000000" pitchFamily="2" charset="0"/>
              </a:rPr>
              <a:t>€</a:t>
            </a:r>
            <a:r>
              <a:rPr lang="en-US" sz="800" dirty="0">
                <a:solidFill>
                  <a:schemeClr val="tx1"/>
                </a:solidFill>
                <a:latin typeface="Nexa Bold" panose="00000800000000000000" pitchFamily="2" charset="0"/>
              </a:rPr>
              <a:t>)</a:t>
            </a:r>
            <a:endPar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endParaRP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Value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ales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M)</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8/11/2025</a:t>
            </a:fld>
            <a:endParaRPr lang="en-US" sz="500"/>
          </a:p>
        </p:txBody>
      </p:sp>
    </p:spTree>
    <p:extLst>
      <p:ext uri="{BB962C8B-B14F-4D97-AF65-F5344CB8AC3E}">
        <p14:creationId xmlns:p14="http://schemas.microsoft.com/office/powerpoint/2010/main" val="857254644"/>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6</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r>
              <a:rPr lang="en-US" dirty="0"/>
              <a:t>Inter-size Discount  | </a:t>
            </a:r>
            <a:r>
              <a:rPr lang="en-US" dirty="0">
                <a:highlight>
                  <a:srgbClr val="FFFF00"/>
                </a:highlight>
              </a:rPr>
              <a:t>Variant</a:t>
            </a:r>
            <a:r>
              <a:rPr lang="en-US" dirty="0"/>
              <a:t> | </a:t>
            </a:r>
            <a:r>
              <a:rPr lang="en-US" dirty="0">
                <a:highlight>
                  <a:srgbClr val="FFFF00"/>
                </a:highlight>
              </a:rPr>
              <a:t>National</a:t>
            </a:r>
            <a:r>
              <a:rPr lang="en-US" dirty="0"/>
              <a:t> | P12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2800073758"/>
              </p:ext>
            </p:extLst>
          </p:nvPr>
        </p:nvGraphicFramePr>
        <p:xfrm>
          <a:off x="555229" y="4265104"/>
          <a:ext cx="7441138"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95492">
                  <a:extLst>
                    <a:ext uri="{9D8B030D-6E8A-4147-A177-3AD203B41FA5}">
                      <a16:colId xmlns:a16="http://schemas.microsoft.com/office/drawing/2014/main" val="2253286919"/>
                    </a:ext>
                  </a:extLst>
                </a:gridCol>
                <a:gridCol w="295492">
                  <a:extLst>
                    <a:ext uri="{9D8B030D-6E8A-4147-A177-3AD203B41FA5}">
                      <a16:colId xmlns:a16="http://schemas.microsoft.com/office/drawing/2014/main" val="2739285047"/>
                    </a:ext>
                  </a:extLst>
                </a:gridCol>
                <a:gridCol w="295492">
                  <a:extLst>
                    <a:ext uri="{9D8B030D-6E8A-4147-A177-3AD203B41FA5}">
                      <a16:colId xmlns:a16="http://schemas.microsoft.com/office/drawing/2014/main" val="686050863"/>
                    </a:ext>
                  </a:extLst>
                </a:gridCol>
                <a:gridCol w="295492">
                  <a:extLst>
                    <a:ext uri="{9D8B030D-6E8A-4147-A177-3AD203B41FA5}">
                      <a16:colId xmlns:a16="http://schemas.microsoft.com/office/drawing/2014/main" val="3765127706"/>
                    </a:ext>
                  </a:extLst>
                </a:gridCol>
                <a:gridCol w="295492">
                  <a:extLst>
                    <a:ext uri="{9D8B030D-6E8A-4147-A177-3AD203B41FA5}">
                      <a16:colId xmlns:a16="http://schemas.microsoft.com/office/drawing/2014/main" val="273303937"/>
                    </a:ext>
                  </a:extLst>
                </a:gridCol>
                <a:gridCol w="295492">
                  <a:extLst>
                    <a:ext uri="{9D8B030D-6E8A-4147-A177-3AD203B41FA5}">
                      <a16:colId xmlns:a16="http://schemas.microsoft.com/office/drawing/2014/main" val="1190134658"/>
                    </a:ext>
                  </a:extLst>
                </a:gridCol>
                <a:gridCol w="295492">
                  <a:extLst>
                    <a:ext uri="{9D8B030D-6E8A-4147-A177-3AD203B41FA5}">
                      <a16:colId xmlns:a16="http://schemas.microsoft.com/office/drawing/2014/main" val="1152288185"/>
                    </a:ext>
                  </a:extLst>
                </a:gridCol>
                <a:gridCol w="295492">
                  <a:extLst>
                    <a:ext uri="{9D8B030D-6E8A-4147-A177-3AD203B41FA5}">
                      <a16:colId xmlns:a16="http://schemas.microsoft.com/office/drawing/2014/main" val="1888319813"/>
                    </a:ext>
                  </a:extLst>
                </a:gridCol>
                <a:gridCol w="295492">
                  <a:extLst>
                    <a:ext uri="{9D8B030D-6E8A-4147-A177-3AD203B41FA5}">
                      <a16:colId xmlns:a16="http://schemas.microsoft.com/office/drawing/2014/main" val="3471064540"/>
                    </a:ext>
                  </a:extLst>
                </a:gridCol>
                <a:gridCol w="295492">
                  <a:extLst>
                    <a:ext uri="{9D8B030D-6E8A-4147-A177-3AD203B41FA5}">
                      <a16:colId xmlns:a16="http://schemas.microsoft.com/office/drawing/2014/main" val="670551899"/>
                    </a:ext>
                  </a:extLst>
                </a:gridCol>
                <a:gridCol w="295492">
                  <a:extLst>
                    <a:ext uri="{9D8B030D-6E8A-4147-A177-3AD203B41FA5}">
                      <a16:colId xmlns:a16="http://schemas.microsoft.com/office/drawing/2014/main" val="1100152168"/>
                    </a:ext>
                  </a:extLst>
                </a:gridCol>
                <a:gridCol w="295492">
                  <a:extLst>
                    <a:ext uri="{9D8B030D-6E8A-4147-A177-3AD203B41FA5}">
                      <a16:colId xmlns:a16="http://schemas.microsoft.com/office/drawing/2014/main" val="2165801595"/>
                    </a:ext>
                  </a:extLst>
                </a:gridCol>
                <a:gridCol w="295492">
                  <a:extLst>
                    <a:ext uri="{9D8B030D-6E8A-4147-A177-3AD203B41FA5}">
                      <a16:colId xmlns:a16="http://schemas.microsoft.com/office/drawing/2014/main" val="3981167565"/>
                    </a:ext>
                  </a:extLst>
                </a:gridCol>
                <a:gridCol w="295492">
                  <a:extLst>
                    <a:ext uri="{9D8B030D-6E8A-4147-A177-3AD203B41FA5}">
                      <a16:colId xmlns:a16="http://schemas.microsoft.com/office/drawing/2014/main" val="2740792325"/>
                    </a:ext>
                  </a:extLst>
                </a:gridCol>
                <a:gridCol w="295492">
                  <a:extLst>
                    <a:ext uri="{9D8B030D-6E8A-4147-A177-3AD203B41FA5}">
                      <a16:colId xmlns:a16="http://schemas.microsoft.com/office/drawing/2014/main" val="54782936"/>
                    </a:ext>
                  </a:extLst>
                </a:gridCol>
                <a:gridCol w="295492">
                  <a:extLst>
                    <a:ext uri="{9D8B030D-6E8A-4147-A177-3AD203B41FA5}">
                      <a16:colId xmlns:a16="http://schemas.microsoft.com/office/drawing/2014/main" val="154020430"/>
                    </a:ext>
                  </a:extLst>
                </a:gridCol>
                <a:gridCol w="295492">
                  <a:extLst>
                    <a:ext uri="{9D8B030D-6E8A-4147-A177-3AD203B41FA5}">
                      <a16:colId xmlns:a16="http://schemas.microsoft.com/office/drawing/2014/main" val="3928813835"/>
                    </a:ext>
                  </a:extLst>
                </a:gridCol>
                <a:gridCol w="295492">
                  <a:extLst>
                    <a:ext uri="{9D8B030D-6E8A-4147-A177-3AD203B41FA5}">
                      <a16:colId xmlns:a16="http://schemas.microsoft.com/office/drawing/2014/main" val="4210253042"/>
                    </a:ext>
                  </a:extLst>
                </a:gridCol>
                <a:gridCol w="295492">
                  <a:extLst>
                    <a:ext uri="{9D8B030D-6E8A-4147-A177-3AD203B41FA5}">
                      <a16:colId xmlns:a16="http://schemas.microsoft.com/office/drawing/2014/main" val="895787419"/>
                    </a:ext>
                  </a:extLst>
                </a:gridCol>
                <a:gridCol w="295492">
                  <a:extLst>
                    <a:ext uri="{9D8B030D-6E8A-4147-A177-3AD203B41FA5}">
                      <a16:colId xmlns:a16="http://schemas.microsoft.com/office/drawing/2014/main" val="3828388578"/>
                    </a:ext>
                  </a:extLst>
                </a:gridCol>
                <a:gridCol w="295492">
                  <a:extLst>
                    <a:ext uri="{9D8B030D-6E8A-4147-A177-3AD203B41FA5}">
                      <a16:colId xmlns:a16="http://schemas.microsoft.com/office/drawing/2014/main" val="742550205"/>
                    </a:ext>
                  </a:extLst>
                </a:gridCol>
                <a:gridCol w="295492">
                  <a:extLst>
                    <a:ext uri="{9D8B030D-6E8A-4147-A177-3AD203B41FA5}">
                      <a16:colId xmlns:a16="http://schemas.microsoft.com/office/drawing/2014/main" val="1408879461"/>
                    </a:ext>
                  </a:extLst>
                </a:gridCol>
              </a:tblGrid>
              <a:tr h="251292">
                <a:tc>
                  <a:txBody>
                    <a:bodyPr/>
                    <a:lstStyle/>
                    <a:p>
                      <a:r>
                        <a:rPr lang="en-US" sz="800" b="1" i="0" dirty="0">
                          <a:solidFill>
                            <a:schemeClr val="bg1"/>
                          </a:solidFill>
                          <a:latin typeface="+mj-lt"/>
                        </a:rPr>
                        <a:t>Sales </a:t>
                      </a:r>
                      <a:r>
                        <a:rPr lang="en-US" sz="800" b="1" i="0">
                          <a:solidFill>
                            <a:schemeClr val="bg1"/>
                          </a:solidFill>
                          <a:latin typeface="+mj-lt"/>
                        </a:rPr>
                        <a:t>Vs. 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rPr dirty="0"/>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rPr dirty="0"/>
                        <a:t>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helf </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Price</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Unit</a:t>
            </a:r>
          </a:p>
          <a:p>
            <a:pPr marL="0" marR="0" lvl="0" indent="0" defTabSz="685749"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Nexa Bold" panose="00000800000000000000" pitchFamily="2" charset="0"/>
              </a:rPr>
              <a:t>(</a:t>
            </a:r>
            <a:r>
              <a:rPr lang="en-US" sz="800" dirty="0">
                <a:solidFill>
                  <a:schemeClr val="tx1"/>
                </a:solidFill>
                <a:highlight>
                  <a:srgbClr val="FFFF00"/>
                </a:highlight>
                <a:latin typeface="Nexa Bold" panose="00000800000000000000" pitchFamily="2" charset="0"/>
              </a:rPr>
              <a:t>€</a:t>
            </a:r>
            <a:r>
              <a:rPr lang="en-US" sz="800" dirty="0">
                <a:solidFill>
                  <a:schemeClr val="tx1"/>
                </a:solidFill>
                <a:latin typeface="Nexa Bold" panose="00000800000000000000" pitchFamily="2" charset="0"/>
              </a:rPr>
              <a:t>)</a:t>
            </a:r>
            <a:endPar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endParaRP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Value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ales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M)</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8/11/2025</a:t>
            </a:fld>
            <a:endParaRPr lang="en-US" sz="500"/>
          </a:p>
        </p:txBody>
      </p:sp>
    </p:spTree>
    <p:extLst>
      <p:ext uri="{BB962C8B-B14F-4D97-AF65-F5344CB8AC3E}">
        <p14:creationId xmlns:p14="http://schemas.microsoft.com/office/powerpoint/2010/main" val="2053168533"/>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7</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r>
              <a:rPr lang="en-US" dirty="0"/>
              <a:t>Inter-size Discount  | </a:t>
            </a:r>
            <a:r>
              <a:rPr lang="en-US" dirty="0">
                <a:highlight>
                  <a:srgbClr val="FFFF00"/>
                </a:highlight>
              </a:rPr>
              <a:t>Variant</a:t>
            </a:r>
            <a:r>
              <a:rPr lang="en-US" dirty="0"/>
              <a:t> | </a:t>
            </a:r>
            <a:r>
              <a:rPr lang="en-US" dirty="0">
                <a:highlight>
                  <a:srgbClr val="FFFF00"/>
                </a:highlight>
              </a:rPr>
              <a:t>National</a:t>
            </a:r>
            <a:r>
              <a:rPr lang="en-US" dirty="0"/>
              <a:t> | P12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2800073758"/>
              </p:ext>
            </p:extLst>
          </p:nvPr>
        </p:nvGraphicFramePr>
        <p:xfrm>
          <a:off x="555229" y="4265104"/>
          <a:ext cx="7441138"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95492">
                  <a:extLst>
                    <a:ext uri="{9D8B030D-6E8A-4147-A177-3AD203B41FA5}">
                      <a16:colId xmlns:a16="http://schemas.microsoft.com/office/drawing/2014/main" val="2253286919"/>
                    </a:ext>
                  </a:extLst>
                </a:gridCol>
                <a:gridCol w="295492">
                  <a:extLst>
                    <a:ext uri="{9D8B030D-6E8A-4147-A177-3AD203B41FA5}">
                      <a16:colId xmlns:a16="http://schemas.microsoft.com/office/drawing/2014/main" val="2739285047"/>
                    </a:ext>
                  </a:extLst>
                </a:gridCol>
                <a:gridCol w="295492">
                  <a:extLst>
                    <a:ext uri="{9D8B030D-6E8A-4147-A177-3AD203B41FA5}">
                      <a16:colId xmlns:a16="http://schemas.microsoft.com/office/drawing/2014/main" val="686050863"/>
                    </a:ext>
                  </a:extLst>
                </a:gridCol>
                <a:gridCol w="295492">
                  <a:extLst>
                    <a:ext uri="{9D8B030D-6E8A-4147-A177-3AD203B41FA5}">
                      <a16:colId xmlns:a16="http://schemas.microsoft.com/office/drawing/2014/main" val="3765127706"/>
                    </a:ext>
                  </a:extLst>
                </a:gridCol>
                <a:gridCol w="295492">
                  <a:extLst>
                    <a:ext uri="{9D8B030D-6E8A-4147-A177-3AD203B41FA5}">
                      <a16:colId xmlns:a16="http://schemas.microsoft.com/office/drawing/2014/main" val="273303937"/>
                    </a:ext>
                  </a:extLst>
                </a:gridCol>
                <a:gridCol w="295492">
                  <a:extLst>
                    <a:ext uri="{9D8B030D-6E8A-4147-A177-3AD203B41FA5}">
                      <a16:colId xmlns:a16="http://schemas.microsoft.com/office/drawing/2014/main" val="1190134658"/>
                    </a:ext>
                  </a:extLst>
                </a:gridCol>
                <a:gridCol w="295492">
                  <a:extLst>
                    <a:ext uri="{9D8B030D-6E8A-4147-A177-3AD203B41FA5}">
                      <a16:colId xmlns:a16="http://schemas.microsoft.com/office/drawing/2014/main" val="1152288185"/>
                    </a:ext>
                  </a:extLst>
                </a:gridCol>
                <a:gridCol w="295492">
                  <a:extLst>
                    <a:ext uri="{9D8B030D-6E8A-4147-A177-3AD203B41FA5}">
                      <a16:colId xmlns:a16="http://schemas.microsoft.com/office/drawing/2014/main" val="1888319813"/>
                    </a:ext>
                  </a:extLst>
                </a:gridCol>
                <a:gridCol w="295492">
                  <a:extLst>
                    <a:ext uri="{9D8B030D-6E8A-4147-A177-3AD203B41FA5}">
                      <a16:colId xmlns:a16="http://schemas.microsoft.com/office/drawing/2014/main" val="3471064540"/>
                    </a:ext>
                  </a:extLst>
                </a:gridCol>
                <a:gridCol w="295492">
                  <a:extLst>
                    <a:ext uri="{9D8B030D-6E8A-4147-A177-3AD203B41FA5}">
                      <a16:colId xmlns:a16="http://schemas.microsoft.com/office/drawing/2014/main" val="670551899"/>
                    </a:ext>
                  </a:extLst>
                </a:gridCol>
                <a:gridCol w="295492">
                  <a:extLst>
                    <a:ext uri="{9D8B030D-6E8A-4147-A177-3AD203B41FA5}">
                      <a16:colId xmlns:a16="http://schemas.microsoft.com/office/drawing/2014/main" val="1100152168"/>
                    </a:ext>
                  </a:extLst>
                </a:gridCol>
                <a:gridCol w="295492">
                  <a:extLst>
                    <a:ext uri="{9D8B030D-6E8A-4147-A177-3AD203B41FA5}">
                      <a16:colId xmlns:a16="http://schemas.microsoft.com/office/drawing/2014/main" val="2165801595"/>
                    </a:ext>
                  </a:extLst>
                </a:gridCol>
                <a:gridCol w="295492">
                  <a:extLst>
                    <a:ext uri="{9D8B030D-6E8A-4147-A177-3AD203B41FA5}">
                      <a16:colId xmlns:a16="http://schemas.microsoft.com/office/drawing/2014/main" val="3981167565"/>
                    </a:ext>
                  </a:extLst>
                </a:gridCol>
                <a:gridCol w="295492">
                  <a:extLst>
                    <a:ext uri="{9D8B030D-6E8A-4147-A177-3AD203B41FA5}">
                      <a16:colId xmlns:a16="http://schemas.microsoft.com/office/drawing/2014/main" val="2740792325"/>
                    </a:ext>
                  </a:extLst>
                </a:gridCol>
                <a:gridCol w="295492">
                  <a:extLst>
                    <a:ext uri="{9D8B030D-6E8A-4147-A177-3AD203B41FA5}">
                      <a16:colId xmlns:a16="http://schemas.microsoft.com/office/drawing/2014/main" val="54782936"/>
                    </a:ext>
                  </a:extLst>
                </a:gridCol>
                <a:gridCol w="295492">
                  <a:extLst>
                    <a:ext uri="{9D8B030D-6E8A-4147-A177-3AD203B41FA5}">
                      <a16:colId xmlns:a16="http://schemas.microsoft.com/office/drawing/2014/main" val="154020430"/>
                    </a:ext>
                  </a:extLst>
                </a:gridCol>
                <a:gridCol w="295492">
                  <a:extLst>
                    <a:ext uri="{9D8B030D-6E8A-4147-A177-3AD203B41FA5}">
                      <a16:colId xmlns:a16="http://schemas.microsoft.com/office/drawing/2014/main" val="3928813835"/>
                    </a:ext>
                  </a:extLst>
                </a:gridCol>
                <a:gridCol w="295492">
                  <a:extLst>
                    <a:ext uri="{9D8B030D-6E8A-4147-A177-3AD203B41FA5}">
                      <a16:colId xmlns:a16="http://schemas.microsoft.com/office/drawing/2014/main" val="4210253042"/>
                    </a:ext>
                  </a:extLst>
                </a:gridCol>
                <a:gridCol w="295492">
                  <a:extLst>
                    <a:ext uri="{9D8B030D-6E8A-4147-A177-3AD203B41FA5}">
                      <a16:colId xmlns:a16="http://schemas.microsoft.com/office/drawing/2014/main" val="895787419"/>
                    </a:ext>
                  </a:extLst>
                </a:gridCol>
                <a:gridCol w="295492">
                  <a:extLst>
                    <a:ext uri="{9D8B030D-6E8A-4147-A177-3AD203B41FA5}">
                      <a16:colId xmlns:a16="http://schemas.microsoft.com/office/drawing/2014/main" val="3828388578"/>
                    </a:ext>
                  </a:extLst>
                </a:gridCol>
                <a:gridCol w="295492">
                  <a:extLst>
                    <a:ext uri="{9D8B030D-6E8A-4147-A177-3AD203B41FA5}">
                      <a16:colId xmlns:a16="http://schemas.microsoft.com/office/drawing/2014/main" val="742550205"/>
                    </a:ext>
                  </a:extLst>
                </a:gridCol>
                <a:gridCol w="295492">
                  <a:extLst>
                    <a:ext uri="{9D8B030D-6E8A-4147-A177-3AD203B41FA5}">
                      <a16:colId xmlns:a16="http://schemas.microsoft.com/office/drawing/2014/main" val="1408879461"/>
                    </a:ext>
                  </a:extLst>
                </a:gridCol>
              </a:tblGrid>
              <a:tr h="251292">
                <a:tc>
                  <a:txBody>
                    <a:bodyPr/>
                    <a:lstStyle/>
                    <a:p>
                      <a:r>
                        <a:rPr lang="en-US" sz="800" b="1" i="0" dirty="0">
                          <a:solidFill>
                            <a:schemeClr val="bg1"/>
                          </a:solidFill>
                          <a:latin typeface="+mj-lt"/>
                        </a:rPr>
                        <a:t>Sales </a:t>
                      </a:r>
                      <a:r>
                        <a:rPr lang="en-US" sz="800" b="1" i="0">
                          <a:solidFill>
                            <a:schemeClr val="bg1"/>
                          </a:solidFill>
                          <a:latin typeface="+mj-lt"/>
                        </a:rPr>
                        <a:t>Vs. 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rPr dirty="0"/>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rPr dirty="0"/>
                        <a:t>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helf </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Price</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Unit</a:t>
            </a:r>
          </a:p>
          <a:p>
            <a:pPr marL="0" marR="0" lvl="0" indent="0" defTabSz="685749"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Nexa Bold" panose="00000800000000000000" pitchFamily="2" charset="0"/>
              </a:rPr>
              <a:t>(</a:t>
            </a:r>
            <a:r>
              <a:rPr lang="en-US" sz="800" dirty="0">
                <a:solidFill>
                  <a:schemeClr val="tx1"/>
                </a:solidFill>
                <a:highlight>
                  <a:srgbClr val="FFFF00"/>
                </a:highlight>
                <a:latin typeface="Nexa Bold" panose="00000800000000000000" pitchFamily="2" charset="0"/>
              </a:rPr>
              <a:t>€</a:t>
            </a:r>
            <a:r>
              <a:rPr lang="en-US" sz="800" dirty="0">
                <a:solidFill>
                  <a:schemeClr val="tx1"/>
                </a:solidFill>
                <a:latin typeface="Nexa Bold" panose="00000800000000000000" pitchFamily="2" charset="0"/>
              </a:rPr>
              <a:t>)</a:t>
            </a:r>
            <a:endPar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endParaRP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Value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ales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M)</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8/11/2025</a:t>
            </a:fld>
            <a:endParaRPr lang="en-US" sz="500"/>
          </a:p>
        </p:txBody>
      </p:sp>
    </p:spTree>
    <p:extLst>
      <p:ext uri="{BB962C8B-B14F-4D97-AF65-F5344CB8AC3E}">
        <p14:creationId xmlns:p14="http://schemas.microsoft.com/office/powerpoint/2010/main" val="2112939975"/>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8</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r>
              <a:rPr lang="en-US" dirty="0"/>
              <a:t>Inter-size Discount  | </a:t>
            </a:r>
            <a:r>
              <a:rPr lang="en-US" dirty="0">
                <a:highlight>
                  <a:srgbClr val="FFFF00"/>
                </a:highlight>
              </a:rPr>
              <a:t>Variant</a:t>
            </a:r>
            <a:r>
              <a:rPr lang="en-US" dirty="0"/>
              <a:t> | </a:t>
            </a:r>
            <a:r>
              <a:rPr lang="en-US" dirty="0">
                <a:highlight>
                  <a:srgbClr val="FFFF00"/>
                </a:highlight>
              </a:rPr>
              <a:t>National</a:t>
            </a:r>
            <a:r>
              <a:rPr lang="en-US" dirty="0"/>
              <a:t> | P12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2800073758"/>
              </p:ext>
            </p:extLst>
          </p:nvPr>
        </p:nvGraphicFramePr>
        <p:xfrm>
          <a:off x="555229" y="4265104"/>
          <a:ext cx="7441138"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95492">
                  <a:extLst>
                    <a:ext uri="{9D8B030D-6E8A-4147-A177-3AD203B41FA5}">
                      <a16:colId xmlns:a16="http://schemas.microsoft.com/office/drawing/2014/main" val="2253286919"/>
                    </a:ext>
                  </a:extLst>
                </a:gridCol>
                <a:gridCol w="295492">
                  <a:extLst>
                    <a:ext uri="{9D8B030D-6E8A-4147-A177-3AD203B41FA5}">
                      <a16:colId xmlns:a16="http://schemas.microsoft.com/office/drawing/2014/main" val="2739285047"/>
                    </a:ext>
                  </a:extLst>
                </a:gridCol>
                <a:gridCol w="295492">
                  <a:extLst>
                    <a:ext uri="{9D8B030D-6E8A-4147-A177-3AD203B41FA5}">
                      <a16:colId xmlns:a16="http://schemas.microsoft.com/office/drawing/2014/main" val="686050863"/>
                    </a:ext>
                  </a:extLst>
                </a:gridCol>
                <a:gridCol w="295492">
                  <a:extLst>
                    <a:ext uri="{9D8B030D-6E8A-4147-A177-3AD203B41FA5}">
                      <a16:colId xmlns:a16="http://schemas.microsoft.com/office/drawing/2014/main" val="3765127706"/>
                    </a:ext>
                  </a:extLst>
                </a:gridCol>
                <a:gridCol w="295492">
                  <a:extLst>
                    <a:ext uri="{9D8B030D-6E8A-4147-A177-3AD203B41FA5}">
                      <a16:colId xmlns:a16="http://schemas.microsoft.com/office/drawing/2014/main" val="273303937"/>
                    </a:ext>
                  </a:extLst>
                </a:gridCol>
                <a:gridCol w="295492">
                  <a:extLst>
                    <a:ext uri="{9D8B030D-6E8A-4147-A177-3AD203B41FA5}">
                      <a16:colId xmlns:a16="http://schemas.microsoft.com/office/drawing/2014/main" val="1190134658"/>
                    </a:ext>
                  </a:extLst>
                </a:gridCol>
                <a:gridCol w="295492">
                  <a:extLst>
                    <a:ext uri="{9D8B030D-6E8A-4147-A177-3AD203B41FA5}">
                      <a16:colId xmlns:a16="http://schemas.microsoft.com/office/drawing/2014/main" val="1152288185"/>
                    </a:ext>
                  </a:extLst>
                </a:gridCol>
                <a:gridCol w="295492">
                  <a:extLst>
                    <a:ext uri="{9D8B030D-6E8A-4147-A177-3AD203B41FA5}">
                      <a16:colId xmlns:a16="http://schemas.microsoft.com/office/drawing/2014/main" val="1888319813"/>
                    </a:ext>
                  </a:extLst>
                </a:gridCol>
                <a:gridCol w="295492">
                  <a:extLst>
                    <a:ext uri="{9D8B030D-6E8A-4147-A177-3AD203B41FA5}">
                      <a16:colId xmlns:a16="http://schemas.microsoft.com/office/drawing/2014/main" val="3471064540"/>
                    </a:ext>
                  </a:extLst>
                </a:gridCol>
                <a:gridCol w="295492">
                  <a:extLst>
                    <a:ext uri="{9D8B030D-6E8A-4147-A177-3AD203B41FA5}">
                      <a16:colId xmlns:a16="http://schemas.microsoft.com/office/drawing/2014/main" val="670551899"/>
                    </a:ext>
                  </a:extLst>
                </a:gridCol>
                <a:gridCol w="295492">
                  <a:extLst>
                    <a:ext uri="{9D8B030D-6E8A-4147-A177-3AD203B41FA5}">
                      <a16:colId xmlns:a16="http://schemas.microsoft.com/office/drawing/2014/main" val="1100152168"/>
                    </a:ext>
                  </a:extLst>
                </a:gridCol>
                <a:gridCol w="295492">
                  <a:extLst>
                    <a:ext uri="{9D8B030D-6E8A-4147-A177-3AD203B41FA5}">
                      <a16:colId xmlns:a16="http://schemas.microsoft.com/office/drawing/2014/main" val="2165801595"/>
                    </a:ext>
                  </a:extLst>
                </a:gridCol>
                <a:gridCol w="295492">
                  <a:extLst>
                    <a:ext uri="{9D8B030D-6E8A-4147-A177-3AD203B41FA5}">
                      <a16:colId xmlns:a16="http://schemas.microsoft.com/office/drawing/2014/main" val="3981167565"/>
                    </a:ext>
                  </a:extLst>
                </a:gridCol>
                <a:gridCol w="295492">
                  <a:extLst>
                    <a:ext uri="{9D8B030D-6E8A-4147-A177-3AD203B41FA5}">
                      <a16:colId xmlns:a16="http://schemas.microsoft.com/office/drawing/2014/main" val="2740792325"/>
                    </a:ext>
                  </a:extLst>
                </a:gridCol>
                <a:gridCol w="295492">
                  <a:extLst>
                    <a:ext uri="{9D8B030D-6E8A-4147-A177-3AD203B41FA5}">
                      <a16:colId xmlns:a16="http://schemas.microsoft.com/office/drawing/2014/main" val="54782936"/>
                    </a:ext>
                  </a:extLst>
                </a:gridCol>
                <a:gridCol w="295492">
                  <a:extLst>
                    <a:ext uri="{9D8B030D-6E8A-4147-A177-3AD203B41FA5}">
                      <a16:colId xmlns:a16="http://schemas.microsoft.com/office/drawing/2014/main" val="154020430"/>
                    </a:ext>
                  </a:extLst>
                </a:gridCol>
                <a:gridCol w="295492">
                  <a:extLst>
                    <a:ext uri="{9D8B030D-6E8A-4147-A177-3AD203B41FA5}">
                      <a16:colId xmlns:a16="http://schemas.microsoft.com/office/drawing/2014/main" val="3928813835"/>
                    </a:ext>
                  </a:extLst>
                </a:gridCol>
                <a:gridCol w="295492">
                  <a:extLst>
                    <a:ext uri="{9D8B030D-6E8A-4147-A177-3AD203B41FA5}">
                      <a16:colId xmlns:a16="http://schemas.microsoft.com/office/drawing/2014/main" val="4210253042"/>
                    </a:ext>
                  </a:extLst>
                </a:gridCol>
                <a:gridCol w="295492">
                  <a:extLst>
                    <a:ext uri="{9D8B030D-6E8A-4147-A177-3AD203B41FA5}">
                      <a16:colId xmlns:a16="http://schemas.microsoft.com/office/drawing/2014/main" val="895787419"/>
                    </a:ext>
                  </a:extLst>
                </a:gridCol>
                <a:gridCol w="295492">
                  <a:extLst>
                    <a:ext uri="{9D8B030D-6E8A-4147-A177-3AD203B41FA5}">
                      <a16:colId xmlns:a16="http://schemas.microsoft.com/office/drawing/2014/main" val="3828388578"/>
                    </a:ext>
                  </a:extLst>
                </a:gridCol>
                <a:gridCol w="295492">
                  <a:extLst>
                    <a:ext uri="{9D8B030D-6E8A-4147-A177-3AD203B41FA5}">
                      <a16:colId xmlns:a16="http://schemas.microsoft.com/office/drawing/2014/main" val="742550205"/>
                    </a:ext>
                  </a:extLst>
                </a:gridCol>
                <a:gridCol w="295492">
                  <a:extLst>
                    <a:ext uri="{9D8B030D-6E8A-4147-A177-3AD203B41FA5}">
                      <a16:colId xmlns:a16="http://schemas.microsoft.com/office/drawing/2014/main" val="1408879461"/>
                    </a:ext>
                  </a:extLst>
                </a:gridCol>
              </a:tblGrid>
              <a:tr h="251292">
                <a:tc>
                  <a:txBody>
                    <a:bodyPr/>
                    <a:lstStyle/>
                    <a:p>
                      <a:r>
                        <a:rPr lang="en-US" sz="800" b="1" i="0" dirty="0">
                          <a:solidFill>
                            <a:schemeClr val="bg1"/>
                          </a:solidFill>
                          <a:latin typeface="+mj-lt"/>
                        </a:rPr>
                        <a:t>Sales </a:t>
                      </a:r>
                      <a:r>
                        <a:rPr lang="en-US" sz="800" b="1" i="0">
                          <a:solidFill>
                            <a:schemeClr val="bg1"/>
                          </a:solidFill>
                          <a:latin typeface="+mj-lt"/>
                        </a:rPr>
                        <a:t>Vs. 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rPr dirty="0"/>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rPr dirty="0"/>
                        <a:t>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helf </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Price</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Unit</a:t>
            </a:r>
          </a:p>
          <a:p>
            <a:pPr marL="0" marR="0" lvl="0" indent="0" defTabSz="685749"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Nexa Bold" panose="00000800000000000000" pitchFamily="2" charset="0"/>
              </a:rPr>
              <a:t>(</a:t>
            </a:r>
            <a:r>
              <a:rPr lang="en-US" sz="800" dirty="0">
                <a:solidFill>
                  <a:schemeClr val="tx1"/>
                </a:solidFill>
                <a:highlight>
                  <a:srgbClr val="FFFF00"/>
                </a:highlight>
                <a:latin typeface="Nexa Bold" panose="00000800000000000000" pitchFamily="2" charset="0"/>
              </a:rPr>
              <a:t>€</a:t>
            </a:r>
            <a:r>
              <a:rPr lang="en-US" sz="800" dirty="0">
                <a:solidFill>
                  <a:schemeClr val="tx1"/>
                </a:solidFill>
                <a:latin typeface="Nexa Bold" panose="00000800000000000000" pitchFamily="2" charset="0"/>
              </a:rPr>
              <a:t>)</a:t>
            </a:r>
            <a:endPar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endParaRP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Value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ales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M)</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8/11/2025</a:t>
            </a:fld>
            <a:endParaRPr lang="en-US" sz="500"/>
          </a:p>
        </p:txBody>
      </p:sp>
    </p:spTree>
    <p:extLst>
      <p:ext uri="{BB962C8B-B14F-4D97-AF65-F5344CB8AC3E}">
        <p14:creationId xmlns:p14="http://schemas.microsoft.com/office/powerpoint/2010/main" val="3292341244"/>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9</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r>
              <a:rPr lang="en-US" dirty="0"/>
              <a:t>Inter-size Discount  | </a:t>
            </a:r>
            <a:r>
              <a:rPr lang="en-US" dirty="0">
                <a:highlight>
                  <a:srgbClr val="FFFF00"/>
                </a:highlight>
              </a:rPr>
              <a:t>Variant</a:t>
            </a:r>
            <a:r>
              <a:rPr lang="en-US" dirty="0"/>
              <a:t> | </a:t>
            </a:r>
            <a:r>
              <a:rPr lang="en-US" dirty="0">
                <a:highlight>
                  <a:srgbClr val="FFFF00"/>
                </a:highlight>
              </a:rPr>
              <a:t>National</a:t>
            </a:r>
            <a:r>
              <a:rPr lang="en-US" dirty="0"/>
              <a:t> | P12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2800073758"/>
              </p:ext>
            </p:extLst>
          </p:nvPr>
        </p:nvGraphicFramePr>
        <p:xfrm>
          <a:off x="555229" y="4265104"/>
          <a:ext cx="7441138"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95492">
                  <a:extLst>
                    <a:ext uri="{9D8B030D-6E8A-4147-A177-3AD203B41FA5}">
                      <a16:colId xmlns:a16="http://schemas.microsoft.com/office/drawing/2014/main" val="2253286919"/>
                    </a:ext>
                  </a:extLst>
                </a:gridCol>
                <a:gridCol w="295492">
                  <a:extLst>
                    <a:ext uri="{9D8B030D-6E8A-4147-A177-3AD203B41FA5}">
                      <a16:colId xmlns:a16="http://schemas.microsoft.com/office/drawing/2014/main" val="2739285047"/>
                    </a:ext>
                  </a:extLst>
                </a:gridCol>
                <a:gridCol w="295492">
                  <a:extLst>
                    <a:ext uri="{9D8B030D-6E8A-4147-A177-3AD203B41FA5}">
                      <a16:colId xmlns:a16="http://schemas.microsoft.com/office/drawing/2014/main" val="686050863"/>
                    </a:ext>
                  </a:extLst>
                </a:gridCol>
                <a:gridCol w="295492">
                  <a:extLst>
                    <a:ext uri="{9D8B030D-6E8A-4147-A177-3AD203B41FA5}">
                      <a16:colId xmlns:a16="http://schemas.microsoft.com/office/drawing/2014/main" val="3765127706"/>
                    </a:ext>
                  </a:extLst>
                </a:gridCol>
                <a:gridCol w="295492">
                  <a:extLst>
                    <a:ext uri="{9D8B030D-6E8A-4147-A177-3AD203B41FA5}">
                      <a16:colId xmlns:a16="http://schemas.microsoft.com/office/drawing/2014/main" val="273303937"/>
                    </a:ext>
                  </a:extLst>
                </a:gridCol>
                <a:gridCol w="295492">
                  <a:extLst>
                    <a:ext uri="{9D8B030D-6E8A-4147-A177-3AD203B41FA5}">
                      <a16:colId xmlns:a16="http://schemas.microsoft.com/office/drawing/2014/main" val="1190134658"/>
                    </a:ext>
                  </a:extLst>
                </a:gridCol>
                <a:gridCol w="295492">
                  <a:extLst>
                    <a:ext uri="{9D8B030D-6E8A-4147-A177-3AD203B41FA5}">
                      <a16:colId xmlns:a16="http://schemas.microsoft.com/office/drawing/2014/main" val="1152288185"/>
                    </a:ext>
                  </a:extLst>
                </a:gridCol>
                <a:gridCol w="295492">
                  <a:extLst>
                    <a:ext uri="{9D8B030D-6E8A-4147-A177-3AD203B41FA5}">
                      <a16:colId xmlns:a16="http://schemas.microsoft.com/office/drawing/2014/main" val="1888319813"/>
                    </a:ext>
                  </a:extLst>
                </a:gridCol>
                <a:gridCol w="295492">
                  <a:extLst>
                    <a:ext uri="{9D8B030D-6E8A-4147-A177-3AD203B41FA5}">
                      <a16:colId xmlns:a16="http://schemas.microsoft.com/office/drawing/2014/main" val="3471064540"/>
                    </a:ext>
                  </a:extLst>
                </a:gridCol>
                <a:gridCol w="295492">
                  <a:extLst>
                    <a:ext uri="{9D8B030D-6E8A-4147-A177-3AD203B41FA5}">
                      <a16:colId xmlns:a16="http://schemas.microsoft.com/office/drawing/2014/main" val="670551899"/>
                    </a:ext>
                  </a:extLst>
                </a:gridCol>
                <a:gridCol w="295492">
                  <a:extLst>
                    <a:ext uri="{9D8B030D-6E8A-4147-A177-3AD203B41FA5}">
                      <a16:colId xmlns:a16="http://schemas.microsoft.com/office/drawing/2014/main" val="1100152168"/>
                    </a:ext>
                  </a:extLst>
                </a:gridCol>
                <a:gridCol w="295492">
                  <a:extLst>
                    <a:ext uri="{9D8B030D-6E8A-4147-A177-3AD203B41FA5}">
                      <a16:colId xmlns:a16="http://schemas.microsoft.com/office/drawing/2014/main" val="2165801595"/>
                    </a:ext>
                  </a:extLst>
                </a:gridCol>
                <a:gridCol w="295492">
                  <a:extLst>
                    <a:ext uri="{9D8B030D-6E8A-4147-A177-3AD203B41FA5}">
                      <a16:colId xmlns:a16="http://schemas.microsoft.com/office/drawing/2014/main" val="3981167565"/>
                    </a:ext>
                  </a:extLst>
                </a:gridCol>
                <a:gridCol w="295492">
                  <a:extLst>
                    <a:ext uri="{9D8B030D-6E8A-4147-A177-3AD203B41FA5}">
                      <a16:colId xmlns:a16="http://schemas.microsoft.com/office/drawing/2014/main" val="2740792325"/>
                    </a:ext>
                  </a:extLst>
                </a:gridCol>
                <a:gridCol w="295492">
                  <a:extLst>
                    <a:ext uri="{9D8B030D-6E8A-4147-A177-3AD203B41FA5}">
                      <a16:colId xmlns:a16="http://schemas.microsoft.com/office/drawing/2014/main" val="54782936"/>
                    </a:ext>
                  </a:extLst>
                </a:gridCol>
                <a:gridCol w="295492">
                  <a:extLst>
                    <a:ext uri="{9D8B030D-6E8A-4147-A177-3AD203B41FA5}">
                      <a16:colId xmlns:a16="http://schemas.microsoft.com/office/drawing/2014/main" val="154020430"/>
                    </a:ext>
                  </a:extLst>
                </a:gridCol>
                <a:gridCol w="295492">
                  <a:extLst>
                    <a:ext uri="{9D8B030D-6E8A-4147-A177-3AD203B41FA5}">
                      <a16:colId xmlns:a16="http://schemas.microsoft.com/office/drawing/2014/main" val="3928813835"/>
                    </a:ext>
                  </a:extLst>
                </a:gridCol>
                <a:gridCol w="295492">
                  <a:extLst>
                    <a:ext uri="{9D8B030D-6E8A-4147-A177-3AD203B41FA5}">
                      <a16:colId xmlns:a16="http://schemas.microsoft.com/office/drawing/2014/main" val="4210253042"/>
                    </a:ext>
                  </a:extLst>
                </a:gridCol>
                <a:gridCol w="295492">
                  <a:extLst>
                    <a:ext uri="{9D8B030D-6E8A-4147-A177-3AD203B41FA5}">
                      <a16:colId xmlns:a16="http://schemas.microsoft.com/office/drawing/2014/main" val="895787419"/>
                    </a:ext>
                  </a:extLst>
                </a:gridCol>
                <a:gridCol w="295492">
                  <a:extLst>
                    <a:ext uri="{9D8B030D-6E8A-4147-A177-3AD203B41FA5}">
                      <a16:colId xmlns:a16="http://schemas.microsoft.com/office/drawing/2014/main" val="3828388578"/>
                    </a:ext>
                  </a:extLst>
                </a:gridCol>
                <a:gridCol w="295492">
                  <a:extLst>
                    <a:ext uri="{9D8B030D-6E8A-4147-A177-3AD203B41FA5}">
                      <a16:colId xmlns:a16="http://schemas.microsoft.com/office/drawing/2014/main" val="742550205"/>
                    </a:ext>
                  </a:extLst>
                </a:gridCol>
                <a:gridCol w="295492">
                  <a:extLst>
                    <a:ext uri="{9D8B030D-6E8A-4147-A177-3AD203B41FA5}">
                      <a16:colId xmlns:a16="http://schemas.microsoft.com/office/drawing/2014/main" val="1408879461"/>
                    </a:ext>
                  </a:extLst>
                </a:gridCol>
              </a:tblGrid>
              <a:tr h="251292">
                <a:tc>
                  <a:txBody>
                    <a:bodyPr/>
                    <a:lstStyle/>
                    <a:p>
                      <a:r>
                        <a:rPr lang="en-US" sz="800" b="1" i="0" dirty="0">
                          <a:solidFill>
                            <a:schemeClr val="bg1"/>
                          </a:solidFill>
                          <a:latin typeface="+mj-lt"/>
                        </a:rPr>
                        <a:t>Sales </a:t>
                      </a:r>
                      <a:r>
                        <a:rPr lang="en-US" sz="800" b="1" i="0">
                          <a:solidFill>
                            <a:schemeClr val="bg1"/>
                          </a:solidFill>
                          <a:latin typeface="+mj-lt"/>
                        </a:rPr>
                        <a:t>Vs. 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rPr dirty="0"/>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rPr dirty="0"/>
                        <a:t>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helf </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Price</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Unit</a:t>
            </a:r>
          </a:p>
          <a:p>
            <a:pPr marL="0" marR="0" lvl="0" indent="0" defTabSz="685749"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Nexa Bold" panose="00000800000000000000" pitchFamily="2" charset="0"/>
              </a:rPr>
              <a:t>(</a:t>
            </a:r>
            <a:r>
              <a:rPr lang="en-US" sz="800" dirty="0">
                <a:solidFill>
                  <a:schemeClr val="tx1"/>
                </a:solidFill>
                <a:highlight>
                  <a:srgbClr val="FFFF00"/>
                </a:highlight>
                <a:latin typeface="Nexa Bold" panose="00000800000000000000" pitchFamily="2" charset="0"/>
              </a:rPr>
              <a:t>€</a:t>
            </a:r>
            <a:r>
              <a:rPr lang="en-US" sz="800" dirty="0">
                <a:solidFill>
                  <a:schemeClr val="tx1"/>
                </a:solidFill>
                <a:latin typeface="Nexa Bold" panose="00000800000000000000" pitchFamily="2" charset="0"/>
              </a:rPr>
              <a:t>)</a:t>
            </a:r>
            <a:endPar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endParaRP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Value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ales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M)</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8/11/2025</a:t>
            </a:fld>
            <a:endParaRPr lang="en-US" sz="500"/>
          </a:p>
        </p:txBody>
      </p:sp>
    </p:spTree>
    <p:extLst>
      <p:ext uri="{BB962C8B-B14F-4D97-AF65-F5344CB8AC3E}">
        <p14:creationId xmlns:p14="http://schemas.microsoft.com/office/powerpoint/2010/main" val="275211845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r>
              <a:rPr lang="en-US" dirty="0"/>
              <a:t>Inter-size Discount  | </a:t>
            </a:r>
            <a:r>
              <a:rPr lang="en-US" dirty="0">
                <a:highlight>
                  <a:srgbClr val="FFFF00"/>
                </a:highlight>
              </a:rPr>
              <a:t>Variant</a:t>
            </a:r>
            <a:r>
              <a:rPr lang="en-US" dirty="0"/>
              <a:t> | </a:t>
            </a:r>
            <a:r>
              <a:rPr lang="en-US" dirty="0">
                <a:highlight>
                  <a:srgbClr val="FFFF00"/>
                </a:highlight>
              </a:rPr>
              <a:t>National</a:t>
            </a:r>
            <a:r>
              <a:rPr lang="en-US" dirty="0"/>
              <a:t> | P12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2800073758"/>
              </p:ext>
            </p:extLst>
          </p:nvPr>
        </p:nvGraphicFramePr>
        <p:xfrm>
          <a:off x="555229" y="4265104"/>
          <a:ext cx="7441138"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95492">
                  <a:extLst>
                    <a:ext uri="{9D8B030D-6E8A-4147-A177-3AD203B41FA5}">
                      <a16:colId xmlns:a16="http://schemas.microsoft.com/office/drawing/2014/main" val="2253286919"/>
                    </a:ext>
                  </a:extLst>
                </a:gridCol>
                <a:gridCol w="295492">
                  <a:extLst>
                    <a:ext uri="{9D8B030D-6E8A-4147-A177-3AD203B41FA5}">
                      <a16:colId xmlns:a16="http://schemas.microsoft.com/office/drawing/2014/main" val="2739285047"/>
                    </a:ext>
                  </a:extLst>
                </a:gridCol>
                <a:gridCol w="295492">
                  <a:extLst>
                    <a:ext uri="{9D8B030D-6E8A-4147-A177-3AD203B41FA5}">
                      <a16:colId xmlns:a16="http://schemas.microsoft.com/office/drawing/2014/main" val="686050863"/>
                    </a:ext>
                  </a:extLst>
                </a:gridCol>
                <a:gridCol w="295492">
                  <a:extLst>
                    <a:ext uri="{9D8B030D-6E8A-4147-A177-3AD203B41FA5}">
                      <a16:colId xmlns:a16="http://schemas.microsoft.com/office/drawing/2014/main" val="3765127706"/>
                    </a:ext>
                  </a:extLst>
                </a:gridCol>
                <a:gridCol w="295492">
                  <a:extLst>
                    <a:ext uri="{9D8B030D-6E8A-4147-A177-3AD203B41FA5}">
                      <a16:colId xmlns:a16="http://schemas.microsoft.com/office/drawing/2014/main" val="273303937"/>
                    </a:ext>
                  </a:extLst>
                </a:gridCol>
                <a:gridCol w="295492">
                  <a:extLst>
                    <a:ext uri="{9D8B030D-6E8A-4147-A177-3AD203B41FA5}">
                      <a16:colId xmlns:a16="http://schemas.microsoft.com/office/drawing/2014/main" val="1190134658"/>
                    </a:ext>
                  </a:extLst>
                </a:gridCol>
                <a:gridCol w="295492">
                  <a:extLst>
                    <a:ext uri="{9D8B030D-6E8A-4147-A177-3AD203B41FA5}">
                      <a16:colId xmlns:a16="http://schemas.microsoft.com/office/drawing/2014/main" val="1152288185"/>
                    </a:ext>
                  </a:extLst>
                </a:gridCol>
                <a:gridCol w="295492">
                  <a:extLst>
                    <a:ext uri="{9D8B030D-6E8A-4147-A177-3AD203B41FA5}">
                      <a16:colId xmlns:a16="http://schemas.microsoft.com/office/drawing/2014/main" val="1888319813"/>
                    </a:ext>
                  </a:extLst>
                </a:gridCol>
                <a:gridCol w="295492">
                  <a:extLst>
                    <a:ext uri="{9D8B030D-6E8A-4147-A177-3AD203B41FA5}">
                      <a16:colId xmlns:a16="http://schemas.microsoft.com/office/drawing/2014/main" val="3471064540"/>
                    </a:ext>
                  </a:extLst>
                </a:gridCol>
                <a:gridCol w="295492">
                  <a:extLst>
                    <a:ext uri="{9D8B030D-6E8A-4147-A177-3AD203B41FA5}">
                      <a16:colId xmlns:a16="http://schemas.microsoft.com/office/drawing/2014/main" val="670551899"/>
                    </a:ext>
                  </a:extLst>
                </a:gridCol>
                <a:gridCol w="295492">
                  <a:extLst>
                    <a:ext uri="{9D8B030D-6E8A-4147-A177-3AD203B41FA5}">
                      <a16:colId xmlns:a16="http://schemas.microsoft.com/office/drawing/2014/main" val="1100152168"/>
                    </a:ext>
                  </a:extLst>
                </a:gridCol>
                <a:gridCol w="295492">
                  <a:extLst>
                    <a:ext uri="{9D8B030D-6E8A-4147-A177-3AD203B41FA5}">
                      <a16:colId xmlns:a16="http://schemas.microsoft.com/office/drawing/2014/main" val="2165801595"/>
                    </a:ext>
                  </a:extLst>
                </a:gridCol>
                <a:gridCol w="295492">
                  <a:extLst>
                    <a:ext uri="{9D8B030D-6E8A-4147-A177-3AD203B41FA5}">
                      <a16:colId xmlns:a16="http://schemas.microsoft.com/office/drawing/2014/main" val="3981167565"/>
                    </a:ext>
                  </a:extLst>
                </a:gridCol>
                <a:gridCol w="295492">
                  <a:extLst>
                    <a:ext uri="{9D8B030D-6E8A-4147-A177-3AD203B41FA5}">
                      <a16:colId xmlns:a16="http://schemas.microsoft.com/office/drawing/2014/main" val="2740792325"/>
                    </a:ext>
                  </a:extLst>
                </a:gridCol>
                <a:gridCol w="295492">
                  <a:extLst>
                    <a:ext uri="{9D8B030D-6E8A-4147-A177-3AD203B41FA5}">
                      <a16:colId xmlns:a16="http://schemas.microsoft.com/office/drawing/2014/main" val="54782936"/>
                    </a:ext>
                  </a:extLst>
                </a:gridCol>
                <a:gridCol w="295492">
                  <a:extLst>
                    <a:ext uri="{9D8B030D-6E8A-4147-A177-3AD203B41FA5}">
                      <a16:colId xmlns:a16="http://schemas.microsoft.com/office/drawing/2014/main" val="154020430"/>
                    </a:ext>
                  </a:extLst>
                </a:gridCol>
                <a:gridCol w="295492">
                  <a:extLst>
                    <a:ext uri="{9D8B030D-6E8A-4147-A177-3AD203B41FA5}">
                      <a16:colId xmlns:a16="http://schemas.microsoft.com/office/drawing/2014/main" val="3928813835"/>
                    </a:ext>
                  </a:extLst>
                </a:gridCol>
                <a:gridCol w="295492">
                  <a:extLst>
                    <a:ext uri="{9D8B030D-6E8A-4147-A177-3AD203B41FA5}">
                      <a16:colId xmlns:a16="http://schemas.microsoft.com/office/drawing/2014/main" val="4210253042"/>
                    </a:ext>
                  </a:extLst>
                </a:gridCol>
                <a:gridCol w="295492">
                  <a:extLst>
                    <a:ext uri="{9D8B030D-6E8A-4147-A177-3AD203B41FA5}">
                      <a16:colId xmlns:a16="http://schemas.microsoft.com/office/drawing/2014/main" val="895787419"/>
                    </a:ext>
                  </a:extLst>
                </a:gridCol>
                <a:gridCol w="295492">
                  <a:extLst>
                    <a:ext uri="{9D8B030D-6E8A-4147-A177-3AD203B41FA5}">
                      <a16:colId xmlns:a16="http://schemas.microsoft.com/office/drawing/2014/main" val="3828388578"/>
                    </a:ext>
                  </a:extLst>
                </a:gridCol>
                <a:gridCol w="295492">
                  <a:extLst>
                    <a:ext uri="{9D8B030D-6E8A-4147-A177-3AD203B41FA5}">
                      <a16:colId xmlns:a16="http://schemas.microsoft.com/office/drawing/2014/main" val="742550205"/>
                    </a:ext>
                  </a:extLst>
                </a:gridCol>
                <a:gridCol w="295492">
                  <a:extLst>
                    <a:ext uri="{9D8B030D-6E8A-4147-A177-3AD203B41FA5}">
                      <a16:colId xmlns:a16="http://schemas.microsoft.com/office/drawing/2014/main" val="1408879461"/>
                    </a:ext>
                  </a:extLst>
                </a:gridCol>
              </a:tblGrid>
              <a:tr h="251292">
                <a:tc>
                  <a:txBody>
                    <a:bodyPr/>
                    <a:lstStyle/>
                    <a:p>
                      <a:r>
                        <a:rPr lang="en-US" sz="800" b="1" i="0" dirty="0">
                          <a:solidFill>
                            <a:schemeClr val="bg1"/>
                          </a:solidFill>
                          <a:latin typeface="+mj-lt"/>
                        </a:rPr>
                        <a:t>Sales </a:t>
                      </a:r>
                      <a:r>
                        <a:rPr lang="en-US" sz="800" b="1" i="0">
                          <a:solidFill>
                            <a:schemeClr val="bg1"/>
                          </a:solidFill>
                          <a:latin typeface="+mj-lt"/>
                        </a:rPr>
                        <a:t>Vs. 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rPr dirty="0"/>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rPr dirty="0"/>
                        <a:t>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helf </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Price</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Unit</a:t>
            </a:r>
          </a:p>
          <a:p>
            <a:pPr marL="0" marR="0" lvl="0" indent="0" defTabSz="685749"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Nexa Bold" panose="00000800000000000000" pitchFamily="2" charset="0"/>
              </a:rPr>
              <a:t>(</a:t>
            </a:r>
            <a:r>
              <a:rPr lang="en-US" sz="800" dirty="0">
                <a:solidFill>
                  <a:schemeClr val="tx1"/>
                </a:solidFill>
                <a:highlight>
                  <a:srgbClr val="FFFF00"/>
                </a:highlight>
                <a:latin typeface="Nexa Bold" panose="00000800000000000000" pitchFamily="2" charset="0"/>
              </a:rPr>
              <a:t>€</a:t>
            </a:r>
            <a:r>
              <a:rPr lang="en-US" sz="800" dirty="0">
                <a:solidFill>
                  <a:schemeClr val="tx1"/>
                </a:solidFill>
                <a:latin typeface="Nexa Bold" panose="00000800000000000000" pitchFamily="2" charset="0"/>
              </a:rPr>
              <a:t>)</a:t>
            </a:r>
            <a:endPar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endParaRP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Value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ales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M)</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8/11/2025</a:t>
            </a:fld>
            <a:endParaRPr lang="en-US" sz="500"/>
          </a:p>
        </p:txBody>
      </p:sp>
    </p:spTree>
    <p:extLst>
      <p:ext uri="{BB962C8B-B14F-4D97-AF65-F5344CB8AC3E}">
        <p14:creationId xmlns:p14="http://schemas.microsoft.com/office/powerpoint/2010/main" val="248483947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502A1C8-4964-4CAE-93D2-4FFA7871C136}">
  <ds:schemaRefs>
    <ds:schemaRef ds:uri="http://schemas.microsoft.com/sharepoint/v3/contenttype/forms"/>
  </ds:schemaRefs>
</ds:datastoreItem>
</file>

<file path=customXml/itemProps3.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20</TotalTime>
  <Words>14508</Words>
  <Application>Microsoft Office PowerPoint</Application>
  <PresentationFormat>On-screen Show (16:9)</PresentationFormat>
  <Paragraphs>7210</Paragraphs>
  <Slides>89</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89</vt:i4>
      </vt:variant>
    </vt:vector>
  </HeadingPairs>
  <TitlesOfParts>
    <vt:vector size="98" baseType="lpstr">
      <vt:lpstr>Aptos</vt:lpstr>
      <vt:lpstr>Arial</vt:lpstr>
      <vt:lpstr>Nexa</vt:lpstr>
      <vt:lpstr>Nexa Bold</vt:lpstr>
      <vt:lpstr>Nexa Book</vt:lpstr>
      <vt:lpstr>Nexa Book Italic</vt:lpstr>
      <vt:lpstr>Open Sans</vt:lpstr>
      <vt:lpstr>1_PricingOne Light Template Oct 2024</vt:lpstr>
      <vt:lpstr>think-cell Slide</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Salma ANANY</cp:lastModifiedBy>
  <cp:revision>66</cp:revision>
  <dcterms:created xsi:type="dcterms:W3CDTF">2024-07-05T11:30:58Z</dcterms:created>
  <dcterms:modified xsi:type="dcterms:W3CDTF">2025-08-11T14:54: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